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omments/modernComment_452_844AD55D.xml" ContentType="application/vnd.ms-powerpoint.comment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8" r:id="rId4"/>
    <p:sldMasterId id="2147483697" r:id="rId5"/>
    <p:sldMasterId id="2147483699" r:id="rId6"/>
  </p:sldMasterIdLst>
  <p:notesMasterIdLst>
    <p:notesMasterId r:id="rId25"/>
  </p:notesMasterIdLst>
  <p:handoutMasterIdLst>
    <p:handoutMasterId r:id="rId26"/>
  </p:handoutMasterIdLst>
  <p:sldIdLst>
    <p:sldId id="1025" r:id="rId7"/>
    <p:sldId id="1124" r:id="rId8"/>
    <p:sldId id="1119" r:id="rId9"/>
    <p:sldId id="1120" r:id="rId10"/>
    <p:sldId id="1121" r:id="rId11"/>
    <p:sldId id="1127" r:id="rId12"/>
    <p:sldId id="1117" r:id="rId13"/>
    <p:sldId id="1096" r:id="rId14"/>
    <p:sldId id="1102" r:id="rId15"/>
    <p:sldId id="1133" r:id="rId16"/>
    <p:sldId id="1107" r:id="rId17"/>
    <p:sldId id="1128" r:id="rId18"/>
    <p:sldId id="1129" r:id="rId19"/>
    <p:sldId id="1106" r:id="rId20"/>
    <p:sldId id="1122" r:id="rId21"/>
    <p:sldId id="1130" r:id="rId22"/>
    <p:sldId id="1131" r:id="rId23"/>
    <p:sldId id="1137" r:id="rId24"/>
  </p:sldIdLst>
  <p:sldSz cx="9144000" cy="5143500" type="screen16x9"/>
  <p:notesSz cx="7086600" cy="93726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2" userDrawn="1">
          <p15:clr>
            <a:srgbClr val="A4A3A4"/>
          </p15:clr>
        </p15:guide>
        <p15:guide id="2" pos="285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7E0D361-EA52-AD55-7A38-447751FD0614}" name="Russell Krenek" initials="RK" userId="S::russell.krenek@novelis.com::cdf4f6c4-82be-40f8-9606-d0be13df5c1d" providerId="AD"/>
  <p188:author id="{05F3FF7D-86F2-4256-F459-8A39740298A5}" name="Noel Hoxie" initials="NH" userId="S::noel.hoxie@novelis.com::8c195283-ad5e-457b-86ef-e88f8fad6e74" providerId="AD"/>
  <p188:author id="{EFE285FB-2343-B825-F576-340FF4859BC7}" name="Mitchell Logan" initials="ML" userId="S::Mitchell.Logan@novelis.com::dc7179b2-67a7-4bfc-9a9f-d0e660097d84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oel Hoxie" initials="NH" lastIdx="2" clrIdx="0">
    <p:extLst>
      <p:ext uri="{19B8F6BF-5375-455C-9EA6-DF929625EA0E}">
        <p15:presenceInfo xmlns:p15="http://schemas.microsoft.com/office/powerpoint/2012/main" userId="S::Noel.Hoxie@novelis.com::8c195283-ad5e-457b-86ef-e88f8fad6e7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F8F8"/>
    <a:srgbClr val="00AAEB"/>
    <a:srgbClr val="C1D72E"/>
    <a:srgbClr val="CEE531"/>
    <a:srgbClr val="EE3AC7"/>
    <a:srgbClr val="0E2961"/>
    <a:srgbClr val="0FA89C"/>
    <a:srgbClr val="1C4689"/>
    <a:srgbClr val="001428"/>
    <a:srgbClr val="3C5A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B6D3EAB-A0BD-7A18-766C-D1BD7FDE560C}" v="2" dt="2024-01-22T14:55:28.510"/>
    <p1510:client id="{D831C2ED-6FDD-4558-BE6C-D93827DDC0B3}" v="273" dt="2024-01-22T20:29:59.031"/>
  </p1510:revLst>
</p1510:revInfo>
</file>

<file path=ppt/tableStyles.xml><?xml version="1.0" encoding="utf-8"?>
<a:tblStyleLst xmlns:a="http://schemas.openxmlformats.org/drawingml/2006/main" def="{5C22544A-7EE6-4342-B048-85BDC9FD1C3A}"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4" d="100"/>
          <a:sy n="94" d="100"/>
        </p:scale>
        <p:origin x="408" y="64"/>
      </p:cViewPr>
      <p:guideLst>
        <p:guide orient="horz" pos="1572"/>
        <p:guide pos="285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microsoft.com/office/2018/10/relationships/authors" Target="author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notesMaster" Target="notesMasters/notesMaster1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Relationship Id="rId8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ussell Krenek" userId="S::russell.krenek@novelis.com::cdf4f6c4-82be-40f8-9606-d0be13df5c1d" providerId="AD" clId="Web-{64C7E162-7C2B-4151-2735-9B020433661B}"/>
    <pc:docChg chg="mod modSld">
      <pc:chgData name="Russell Krenek" userId="S::russell.krenek@novelis.com::cdf4f6c4-82be-40f8-9606-d0be13df5c1d" providerId="AD" clId="Web-{64C7E162-7C2B-4151-2735-9B020433661B}" dt="2024-01-19T20:05:51.204" v="151"/>
      <pc:docMkLst>
        <pc:docMk/>
      </pc:docMkLst>
      <pc:sldChg chg="addSp delSp modSp modCm">
        <pc:chgData name="Russell Krenek" userId="S::russell.krenek@novelis.com::cdf4f6c4-82be-40f8-9606-d0be13df5c1d" providerId="AD" clId="Web-{64C7E162-7C2B-4151-2735-9B020433661B}" dt="2024-01-19T20:05:51.204" v="151"/>
        <pc:sldMkLst>
          <pc:docMk/>
          <pc:sldMk cId="1257590593" sldId="1124"/>
        </pc:sldMkLst>
        <pc:spChg chg="add mod">
          <ac:chgData name="Russell Krenek" userId="S::russell.krenek@novelis.com::cdf4f6c4-82be-40f8-9606-d0be13df5c1d" providerId="AD" clId="Web-{64C7E162-7C2B-4151-2735-9B020433661B}" dt="2024-01-19T19:17:46.982" v="36" actId="20577"/>
          <ac:spMkLst>
            <pc:docMk/>
            <pc:sldMk cId="1257590593" sldId="1124"/>
            <ac:spMk id="6" creationId="{7DF602FF-E001-4535-449A-609939176F92}"/>
          </ac:spMkLst>
        </pc:spChg>
        <pc:spChg chg="add mod">
          <ac:chgData name="Russell Krenek" userId="S::russell.krenek@novelis.com::cdf4f6c4-82be-40f8-9606-d0be13df5c1d" providerId="AD" clId="Web-{64C7E162-7C2B-4151-2735-9B020433661B}" dt="2024-01-19T19:25:44.043" v="137" actId="20577"/>
          <ac:spMkLst>
            <pc:docMk/>
            <pc:sldMk cId="1257590593" sldId="1124"/>
            <ac:spMk id="7" creationId="{60ECFB43-39F5-D808-63C2-B483ACF5BD2D}"/>
          </ac:spMkLst>
        </pc:spChg>
        <pc:picChg chg="add del mod">
          <ac:chgData name="Russell Krenek" userId="S::russell.krenek@novelis.com::cdf4f6c4-82be-40f8-9606-d0be13df5c1d" providerId="AD" clId="Web-{64C7E162-7C2B-4151-2735-9B020433661B}" dt="2024-01-19T20:02:44.120" v="138"/>
          <ac:picMkLst>
            <pc:docMk/>
            <pc:sldMk cId="1257590593" sldId="1124"/>
            <ac:picMk id="5" creationId="{B92DC956-9765-AE9F-D305-A10860651DDD}"/>
          </ac:picMkLst>
        </pc:picChg>
        <pc:picChg chg="add mod">
          <ac:chgData name="Russell Krenek" userId="S::russell.krenek@novelis.com::cdf4f6c4-82be-40f8-9606-d0be13df5c1d" providerId="AD" clId="Web-{64C7E162-7C2B-4151-2735-9B020433661B}" dt="2024-01-19T20:05:22.828" v="149" actId="14100"/>
          <ac:picMkLst>
            <pc:docMk/>
            <pc:sldMk cId="1257590593" sldId="1124"/>
            <ac:picMk id="8" creationId="{1F2152C4-CB3E-829A-97F6-61937252FEA2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Russell Krenek" userId="S::russell.krenek@novelis.com::cdf4f6c4-82be-40f8-9606-d0be13df5c1d" providerId="AD" clId="Web-{64C7E162-7C2B-4151-2735-9B020433661B}" dt="2024-01-19T20:05:51.204" v="151"/>
              <pc2:cmMkLst xmlns:pc2="http://schemas.microsoft.com/office/powerpoint/2019/9/main/command">
                <pc:docMk/>
                <pc:sldMk cId="1257590593" sldId="1124"/>
                <pc2:cmMk id="{21598F1B-5B43-4A26-B2C0-902F4C825E29}"/>
              </pc2:cmMkLst>
              <pc226:cmRplyChg chg="add">
                <pc226:chgData name="Russell Krenek" userId="S::russell.krenek@novelis.com::cdf4f6c4-82be-40f8-9606-d0be13df5c1d" providerId="AD" clId="Web-{64C7E162-7C2B-4151-2735-9B020433661B}" dt="2024-01-19T20:05:51.204" v="151"/>
                <pc2:cmRplyMkLst xmlns:pc2="http://schemas.microsoft.com/office/powerpoint/2019/9/main/command">
                  <pc:docMk/>
                  <pc:sldMk cId="1257590593" sldId="1124"/>
                  <pc2:cmMk id="{21598F1B-5B43-4A26-B2C0-902F4C825E29}"/>
                  <pc2:cmRplyMk id="{198D1BF5-17BB-4B6D-A98E-77F262F71976}"/>
                </pc2:cmRplyMkLst>
              </pc226:cmRplyChg>
            </pc226:cmChg>
          </p:ext>
        </pc:extLst>
      </pc:sldChg>
    </pc:docChg>
  </pc:docChgLst>
  <pc:docChgLst>
    <pc:chgData name="Mitchell Logan" userId="dc7179b2-67a7-4bfc-9a9f-d0e660097d84" providerId="ADAL" clId="{D831C2ED-6FDD-4558-BE6C-D93827DDC0B3}"/>
    <pc:docChg chg="undo redo custSel delSld modSld">
      <pc:chgData name="Mitchell Logan" userId="dc7179b2-67a7-4bfc-9a9f-d0e660097d84" providerId="ADAL" clId="{D831C2ED-6FDD-4558-BE6C-D93827DDC0B3}" dt="2024-01-23T02:31:55.660" v="686" actId="20577"/>
      <pc:docMkLst>
        <pc:docMk/>
      </pc:docMkLst>
      <pc:sldChg chg="modSp mod">
        <pc:chgData name="Mitchell Logan" userId="dc7179b2-67a7-4bfc-9a9f-d0e660097d84" providerId="ADAL" clId="{D831C2ED-6FDD-4558-BE6C-D93827DDC0B3}" dt="2024-01-22T20:24:56.437" v="536" actId="20577"/>
        <pc:sldMkLst>
          <pc:docMk/>
          <pc:sldMk cId="3388430713" sldId="1096"/>
        </pc:sldMkLst>
        <pc:spChg chg="mod">
          <ac:chgData name="Mitchell Logan" userId="dc7179b2-67a7-4bfc-9a9f-d0e660097d84" providerId="ADAL" clId="{D831C2ED-6FDD-4558-BE6C-D93827DDC0B3}" dt="2024-01-22T20:21:21.152" v="527" actId="1076"/>
          <ac:spMkLst>
            <pc:docMk/>
            <pc:sldMk cId="3388430713" sldId="1096"/>
            <ac:spMk id="8" creationId="{287A8919-731A-4977-A948-CC173E19C118}"/>
          </ac:spMkLst>
        </pc:spChg>
        <pc:graphicFrameChg chg="mod">
          <ac:chgData name="Mitchell Logan" userId="dc7179b2-67a7-4bfc-9a9f-d0e660097d84" providerId="ADAL" clId="{D831C2ED-6FDD-4558-BE6C-D93827DDC0B3}" dt="2024-01-22T20:24:56.437" v="536" actId="20577"/>
          <ac:graphicFrameMkLst>
            <pc:docMk/>
            <pc:sldMk cId="3388430713" sldId="1096"/>
            <ac:graphicFrameMk id="12" creationId="{00000000-0000-0000-0000-000000000000}"/>
          </ac:graphicFrameMkLst>
        </pc:graphicFrameChg>
        <pc:picChg chg="mod">
          <ac:chgData name="Mitchell Logan" userId="dc7179b2-67a7-4bfc-9a9f-d0e660097d84" providerId="ADAL" clId="{D831C2ED-6FDD-4558-BE6C-D93827DDC0B3}" dt="2024-01-22T20:24:13.526" v="533" actId="1076"/>
          <ac:picMkLst>
            <pc:docMk/>
            <pc:sldMk cId="3388430713" sldId="1096"/>
            <ac:picMk id="6" creationId="{00000000-0000-0000-0000-000000000000}"/>
          </ac:picMkLst>
        </pc:picChg>
        <pc:picChg chg="mod">
          <ac:chgData name="Mitchell Logan" userId="dc7179b2-67a7-4bfc-9a9f-d0e660097d84" providerId="ADAL" clId="{D831C2ED-6FDD-4558-BE6C-D93827DDC0B3}" dt="2024-01-22T20:23:31.934" v="532" actId="1076"/>
          <ac:picMkLst>
            <pc:docMk/>
            <pc:sldMk cId="3388430713" sldId="1096"/>
            <ac:picMk id="9" creationId="{00000000-0000-0000-0000-000000000000}"/>
          </ac:picMkLst>
        </pc:picChg>
        <pc:picChg chg="mod">
          <ac:chgData name="Mitchell Logan" userId="dc7179b2-67a7-4bfc-9a9f-d0e660097d84" providerId="ADAL" clId="{D831C2ED-6FDD-4558-BE6C-D93827DDC0B3}" dt="2024-01-22T20:22:30.193" v="529" actId="1076"/>
          <ac:picMkLst>
            <pc:docMk/>
            <pc:sldMk cId="3388430713" sldId="1096"/>
            <ac:picMk id="15" creationId="{00000000-0000-0000-0000-000000000000}"/>
          </ac:picMkLst>
        </pc:picChg>
        <pc:picChg chg="mod">
          <ac:chgData name="Mitchell Logan" userId="dc7179b2-67a7-4bfc-9a9f-d0e660097d84" providerId="ADAL" clId="{D831C2ED-6FDD-4558-BE6C-D93827DDC0B3}" dt="2024-01-22T20:24:21.243" v="534" actId="1076"/>
          <ac:picMkLst>
            <pc:docMk/>
            <pc:sldMk cId="3388430713" sldId="1096"/>
            <ac:picMk id="41" creationId="{6425B0CC-D5C3-3255-0879-26057E05BABD}"/>
          </ac:picMkLst>
        </pc:picChg>
        <pc:cxnChg chg="mod">
          <ac:chgData name="Mitchell Logan" userId="dc7179b2-67a7-4bfc-9a9f-d0e660097d84" providerId="ADAL" clId="{D831C2ED-6FDD-4558-BE6C-D93827DDC0B3}" dt="2024-01-22T20:21:15.040" v="525" actId="1076"/>
          <ac:cxnSpMkLst>
            <pc:docMk/>
            <pc:sldMk cId="3388430713" sldId="1096"/>
            <ac:cxnSpMk id="7" creationId="{A0186259-C991-4164-8E6E-41A797137C7A}"/>
          </ac:cxnSpMkLst>
        </pc:cxnChg>
      </pc:sldChg>
      <pc:sldChg chg="delSp modSp mod">
        <pc:chgData name="Mitchell Logan" userId="dc7179b2-67a7-4bfc-9a9f-d0e660097d84" providerId="ADAL" clId="{D831C2ED-6FDD-4558-BE6C-D93827DDC0B3}" dt="2024-01-22T20:28:11.221" v="550" actId="5793"/>
        <pc:sldMkLst>
          <pc:docMk/>
          <pc:sldMk cId="2191442942" sldId="1102"/>
        </pc:sldMkLst>
        <pc:spChg chg="mod">
          <ac:chgData name="Mitchell Logan" userId="dc7179b2-67a7-4bfc-9a9f-d0e660097d84" providerId="ADAL" clId="{D831C2ED-6FDD-4558-BE6C-D93827DDC0B3}" dt="2024-01-22T20:25:27.520" v="538" actId="14100"/>
          <ac:spMkLst>
            <pc:docMk/>
            <pc:sldMk cId="2191442942" sldId="1102"/>
            <ac:spMk id="8" creationId="{00000000-0000-0000-0000-000000000000}"/>
          </ac:spMkLst>
        </pc:spChg>
        <pc:spChg chg="mod">
          <ac:chgData name="Mitchell Logan" userId="dc7179b2-67a7-4bfc-9a9f-d0e660097d84" providerId="ADAL" clId="{D831C2ED-6FDD-4558-BE6C-D93827DDC0B3}" dt="2024-01-22T20:25:27.520" v="538" actId="14100"/>
          <ac:spMkLst>
            <pc:docMk/>
            <pc:sldMk cId="2191442942" sldId="1102"/>
            <ac:spMk id="9" creationId="{00000000-0000-0000-0000-000000000000}"/>
          </ac:spMkLst>
        </pc:spChg>
        <pc:spChg chg="mod">
          <ac:chgData name="Mitchell Logan" userId="dc7179b2-67a7-4bfc-9a9f-d0e660097d84" providerId="ADAL" clId="{D831C2ED-6FDD-4558-BE6C-D93827DDC0B3}" dt="2024-01-22T20:25:36.454" v="540" actId="1076"/>
          <ac:spMkLst>
            <pc:docMk/>
            <pc:sldMk cId="2191442942" sldId="1102"/>
            <ac:spMk id="10" creationId="{00000000-0000-0000-0000-000000000000}"/>
          </ac:spMkLst>
        </pc:spChg>
        <pc:spChg chg="mod">
          <ac:chgData name="Mitchell Logan" userId="dc7179b2-67a7-4bfc-9a9f-d0e660097d84" providerId="ADAL" clId="{D831C2ED-6FDD-4558-BE6C-D93827DDC0B3}" dt="2024-01-22T20:25:27.520" v="538" actId="14100"/>
          <ac:spMkLst>
            <pc:docMk/>
            <pc:sldMk cId="2191442942" sldId="1102"/>
            <ac:spMk id="11" creationId="{00000000-0000-0000-0000-000000000000}"/>
          </ac:spMkLst>
        </pc:spChg>
        <pc:spChg chg="mod">
          <ac:chgData name="Mitchell Logan" userId="dc7179b2-67a7-4bfc-9a9f-d0e660097d84" providerId="ADAL" clId="{D831C2ED-6FDD-4558-BE6C-D93827DDC0B3}" dt="2024-01-22T14:34:17.258" v="510" actId="20577"/>
          <ac:spMkLst>
            <pc:docMk/>
            <pc:sldMk cId="2191442942" sldId="1102"/>
            <ac:spMk id="12" creationId="{00000000-0000-0000-0000-000000000000}"/>
          </ac:spMkLst>
        </pc:spChg>
        <pc:spChg chg="mod">
          <ac:chgData name="Mitchell Logan" userId="dc7179b2-67a7-4bfc-9a9f-d0e660097d84" providerId="ADAL" clId="{D831C2ED-6FDD-4558-BE6C-D93827DDC0B3}" dt="2024-01-22T20:28:11.221" v="550" actId="5793"/>
          <ac:spMkLst>
            <pc:docMk/>
            <pc:sldMk cId="2191442942" sldId="1102"/>
            <ac:spMk id="14" creationId="{00000000-0000-0000-0000-000000000000}"/>
          </ac:spMkLst>
        </pc:spChg>
        <pc:spChg chg="mod">
          <ac:chgData name="Mitchell Logan" userId="dc7179b2-67a7-4bfc-9a9f-d0e660097d84" providerId="ADAL" clId="{D831C2ED-6FDD-4558-BE6C-D93827DDC0B3}" dt="2024-01-22T20:25:27.520" v="538" actId="14100"/>
          <ac:spMkLst>
            <pc:docMk/>
            <pc:sldMk cId="2191442942" sldId="1102"/>
            <ac:spMk id="15" creationId="{00000000-0000-0000-0000-000000000000}"/>
          </ac:spMkLst>
        </pc:spChg>
        <pc:spChg chg="mod">
          <ac:chgData name="Mitchell Logan" userId="dc7179b2-67a7-4bfc-9a9f-d0e660097d84" providerId="ADAL" clId="{D831C2ED-6FDD-4558-BE6C-D93827DDC0B3}" dt="2024-01-22T14:34:11.094" v="497" actId="20577"/>
          <ac:spMkLst>
            <pc:docMk/>
            <pc:sldMk cId="2191442942" sldId="1102"/>
            <ac:spMk id="16" creationId="{00000000-0000-0000-0000-000000000000}"/>
          </ac:spMkLst>
        </pc:spChg>
        <pc:spChg chg="mod">
          <ac:chgData name="Mitchell Logan" userId="dc7179b2-67a7-4bfc-9a9f-d0e660097d84" providerId="ADAL" clId="{D831C2ED-6FDD-4558-BE6C-D93827DDC0B3}" dt="2024-01-22T20:25:27.520" v="538" actId="14100"/>
          <ac:spMkLst>
            <pc:docMk/>
            <pc:sldMk cId="2191442942" sldId="1102"/>
            <ac:spMk id="17" creationId="{00000000-0000-0000-0000-000000000000}"/>
          </ac:spMkLst>
        </pc:spChg>
        <pc:spChg chg="mod">
          <ac:chgData name="Mitchell Logan" userId="dc7179b2-67a7-4bfc-9a9f-d0e660097d84" providerId="ADAL" clId="{D831C2ED-6FDD-4558-BE6C-D93827DDC0B3}" dt="2024-01-22T20:25:27.520" v="538" actId="14100"/>
          <ac:spMkLst>
            <pc:docMk/>
            <pc:sldMk cId="2191442942" sldId="1102"/>
            <ac:spMk id="21" creationId="{00000000-0000-0000-0000-000000000000}"/>
          </ac:spMkLst>
        </pc:spChg>
        <pc:spChg chg="mod">
          <ac:chgData name="Mitchell Logan" userId="dc7179b2-67a7-4bfc-9a9f-d0e660097d84" providerId="ADAL" clId="{D831C2ED-6FDD-4558-BE6C-D93827DDC0B3}" dt="2024-01-22T20:25:27.520" v="538" actId="14100"/>
          <ac:spMkLst>
            <pc:docMk/>
            <pc:sldMk cId="2191442942" sldId="1102"/>
            <ac:spMk id="23" creationId="{00000000-0000-0000-0000-000000000000}"/>
          </ac:spMkLst>
        </pc:spChg>
        <pc:spChg chg="mod">
          <ac:chgData name="Mitchell Logan" userId="dc7179b2-67a7-4bfc-9a9f-d0e660097d84" providerId="ADAL" clId="{D831C2ED-6FDD-4558-BE6C-D93827DDC0B3}" dt="2024-01-22T20:25:27.520" v="538" actId="14100"/>
          <ac:spMkLst>
            <pc:docMk/>
            <pc:sldMk cId="2191442942" sldId="1102"/>
            <ac:spMk id="24" creationId="{00000000-0000-0000-0000-000000000000}"/>
          </ac:spMkLst>
        </pc:spChg>
        <pc:spChg chg="mod">
          <ac:chgData name="Mitchell Logan" userId="dc7179b2-67a7-4bfc-9a9f-d0e660097d84" providerId="ADAL" clId="{D831C2ED-6FDD-4558-BE6C-D93827DDC0B3}" dt="2024-01-22T20:25:27.520" v="538" actId="14100"/>
          <ac:spMkLst>
            <pc:docMk/>
            <pc:sldMk cId="2191442942" sldId="1102"/>
            <ac:spMk id="26" creationId="{00000000-0000-0000-0000-000000000000}"/>
          </ac:spMkLst>
        </pc:spChg>
        <pc:spChg chg="mod">
          <ac:chgData name="Mitchell Logan" userId="dc7179b2-67a7-4bfc-9a9f-d0e660097d84" providerId="ADAL" clId="{D831C2ED-6FDD-4558-BE6C-D93827DDC0B3}" dt="2024-01-22T20:25:27.520" v="538" actId="14100"/>
          <ac:spMkLst>
            <pc:docMk/>
            <pc:sldMk cId="2191442942" sldId="1102"/>
            <ac:spMk id="32" creationId="{00000000-0000-0000-0000-000000000000}"/>
          </ac:spMkLst>
        </pc:spChg>
        <pc:spChg chg="mod">
          <ac:chgData name="Mitchell Logan" userId="dc7179b2-67a7-4bfc-9a9f-d0e660097d84" providerId="ADAL" clId="{D831C2ED-6FDD-4558-BE6C-D93827DDC0B3}" dt="2024-01-22T20:25:27.520" v="538" actId="14100"/>
          <ac:spMkLst>
            <pc:docMk/>
            <pc:sldMk cId="2191442942" sldId="1102"/>
            <ac:spMk id="34" creationId="{00000000-0000-0000-0000-000000000000}"/>
          </ac:spMkLst>
        </pc:spChg>
        <pc:spChg chg="mod">
          <ac:chgData name="Mitchell Logan" userId="dc7179b2-67a7-4bfc-9a9f-d0e660097d84" providerId="ADAL" clId="{D831C2ED-6FDD-4558-BE6C-D93827DDC0B3}" dt="2024-01-22T20:25:27.520" v="538" actId="14100"/>
          <ac:spMkLst>
            <pc:docMk/>
            <pc:sldMk cId="2191442942" sldId="1102"/>
            <ac:spMk id="35" creationId="{00000000-0000-0000-0000-000000000000}"/>
          </ac:spMkLst>
        </pc:spChg>
        <pc:spChg chg="mod">
          <ac:chgData name="Mitchell Logan" userId="dc7179b2-67a7-4bfc-9a9f-d0e660097d84" providerId="ADAL" clId="{D831C2ED-6FDD-4558-BE6C-D93827DDC0B3}" dt="2024-01-22T20:25:27.520" v="538" actId="14100"/>
          <ac:spMkLst>
            <pc:docMk/>
            <pc:sldMk cId="2191442942" sldId="1102"/>
            <ac:spMk id="38" creationId="{00000000-0000-0000-0000-000000000000}"/>
          </ac:spMkLst>
        </pc:spChg>
        <pc:spChg chg="del">
          <ac:chgData name="Mitchell Logan" userId="dc7179b2-67a7-4bfc-9a9f-d0e660097d84" providerId="ADAL" clId="{D831C2ED-6FDD-4558-BE6C-D93827DDC0B3}" dt="2024-01-22T14:31:21.715" v="414" actId="478"/>
          <ac:spMkLst>
            <pc:docMk/>
            <pc:sldMk cId="2191442942" sldId="1102"/>
            <ac:spMk id="39" creationId="{00000000-0000-0000-0000-000000000000}"/>
          </ac:spMkLst>
        </pc:spChg>
        <pc:spChg chg="del">
          <ac:chgData name="Mitchell Logan" userId="dc7179b2-67a7-4bfc-9a9f-d0e660097d84" providerId="ADAL" clId="{D831C2ED-6FDD-4558-BE6C-D93827DDC0B3}" dt="2024-01-22T14:31:17.167" v="413" actId="478"/>
          <ac:spMkLst>
            <pc:docMk/>
            <pc:sldMk cId="2191442942" sldId="1102"/>
            <ac:spMk id="40" creationId="{00000000-0000-0000-0000-000000000000}"/>
          </ac:spMkLst>
        </pc:spChg>
        <pc:spChg chg="mod">
          <ac:chgData name="Mitchell Logan" userId="dc7179b2-67a7-4bfc-9a9f-d0e660097d84" providerId="ADAL" clId="{D831C2ED-6FDD-4558-BE6C-D93827DDC0B3}" dt="2024-01-22T20:25:27.520" v="538" actId="14100"/>
          <ac:spMkLst>
            <pc:docMk/>
            <pc:sldMk cId="2191442942" sldId="1102"/>
            <ac:spMk id="43" creationId="{00000000-0000-0000-0000-000000000000}"/>
          </ac:spMkLst>
        </pc:spChg>
      </pc:sldChg>
      <pc:sldChg chg="modSp mod delCm modCm">
        <pc:chgData name="Mitchell Logan" userId="dc7179b2-67a7-4bfc-9a9f-d0e660097d84" providerId="ADAL" clId="{D831C2ED-6FDD-4558-BE6C-D93827DDC0B3}" dt="2024-01-22T13:46:21.482" v="261" actId="313"/>
        <pc:sldMkLst>
          <pc:docMk/>
          <pc:sldMk cId="2219496797" sldId="1106"/>
        </pc:sldMkLst>
        <pc:spChg chg="mod">
          <ac:chgData name="Mitchell Logan" userId="dc7179b2-67a7-4bfc-9a9f-d0e660097d84" providerId="ADAL" clId="{D831C2ED-6FDD-4558-BE6C-D93827DDC0B3}" dt="2024-01-22T13:46:21.482" v="261" actId="313"/>
          <ac:spMkLst>
            <pc:docMk/>
            <pc:sldMk cId="2219496797" sldId="1106"/>
            <ac:spMk id="3" creationId="{00000000-0000-0000-0000-000000000000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Mitchell Logan" userId="dc7179b2-67a7-4bfc-9a9f-d0e660097d84" providerId="ADAL" clId="{D831C2ED-6FDD-4558-BE6C-D93827DDC0B3}" dt="2024-01-22T13:46:21.482" v="261" actId="313"/>
              <pc2:cmMkLst xmlns:pc2="http://schemas.microsoft.com/office/powerpoint/2019/9/main/command">
                <pc:docMk/>
                <pc:sldMk cId="2219496797" sldId="1106"/>
                <pc2:cmMk id="{FFDBE45A-3A17-4C3D-A569-D7ABE152C455}"/>
              </pc2:cmMkLst>
            </pc226:cmChg>
            <pc226:cmChg xmlns:pc226="http://schemas.microsoft.com/office/powerpoint/2022/06/main/command" chg="del mod">
              <pc226:chgData name="Mitchell Logan" userId="dc7179b2-67a7-4bfc-9a9f-d0e660097d84" providerId="ADAL" clId="{D831C2ED-6FDD-4558-BE6C-D93827DDC0B3}" dt="2024-01-19T19:15:54.346" v="55"/>
              <pc2:cmMkLst xmlns:pc2="http://schemas.microsoft.com/office/powerpoint/2019/9/main/command">
                <pc:docMk/>
                <pc:sldMk cId="2219496797" sldId="1106"/>
                <pc2:cmMk id="{CCF00BBC-76C0-4387-8EA6-EECF198FF90E}"/>
              </pc2:cmMkLst>
            </pc226:cmChg>
          </p:ext>
        </pc:extLst>
      </pc:sldChg>
      <pc:sldChg chg="modSp mod delCm">
        <pc:chgData name="Mitchell Logan" userId="dc7179b2-67a7-4bfc-9a9f-d0e660097d84" providerId="ADAL" clId="{D831C2ED-6FDD-4558-BE6C-D93827DDC0B3}" dt="2024-01-23T02:30:43.681" v="652" actId="20577"/>
        <pc:sldMkLst>
          <pc:docMk/>
          <pc:sldMk cId="457235183" sldId="1107"/>
        </pc:sldMkLst>
        <pc:spChg chg="mod">
          <ac:chgData name="Mitchell Logan" userId="dc7179b2-67a7-4bfc-9a9f-d0e660097d84" providerId="ADAL" clId="{D831C2ED-6FDD-4558-BE6C-D93827DDC0B3}" dt="2024-01-23T02:30:43.681" v="652" actId="20577"/>
          <ac:spMkLst>
            <pc:docMk/>
            <pc:sldMk cId="457235183" sldId="1107"/>
            <ac:spMk id="3" creationId="{00000000-0000-0000-0000-000000000000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Mitchell Logan" userId="dc7179b2-67a7-4bfc-9a9f-d0e660097d84" providerId="ADAL" clId="{D831C2ED-6FDD-4558-BE6C-D93827DDC0B3}" dt="2024-01-19T19:10:32.138" v="19"/>
              <pc2:cmMkLst xmlns:pc2="http://schemas.microsoft.com/office/powerpoint/2019/9/main/command">
                <pc:docMk/>
                <pc:sldMk cId="457235183" sldId="1107"/>
                <pc2:cmMk id="{6DBB0888-2853-4C78-9406-6FA030F11701}"/>
              </pc2:cmMkLst>
            </pc226:cmChg>
            <pc226:cmChg xmlns:pc226="http://schemas.microsoft.com/office/powerpoint/2022/06/main/command" chg="del">
              <pc226:chgData name="Mitchell Logan" userId="dc7179b2-67a7-4bfc-9a9f-d0e660097d84" providerId="ADAL" clId="{D831C2ED-6FDD-4558-BE6C-D93827DDC0B3}" dt="2024-01-19T19:10:44.130" v="20"/>
              <pc2:cmMkLst xmlns:pc2="http://schemas.microsoft.com/office/powerpoint/2019/9/main/command">
                <pc:docMk/>
                <pc:sldMk cId="457235183" sldId="1107"/>
                <pc2:cmMk id="{35BF5D9B-7ACB-4206-96B1-1BB900B4C8A3}"/>
              </pc2:cmMkLst>
            </pc226:cmChg>
          </p:ext>
        </pc:extLst>
      </pc:sldChg>
      <pc:sldChg chg="modSp mod">
        <pc:chgData name="Mitchell Logan" userId="dc7179b2-67a7-4bfc-9a9f-d0e660097d84" providerId="ADAL" clId="{D831C2ED-6FDD-4558-BE6C-D93827DDC0B3}" dt="2024-01-19T19:20:24.386" v="76" actId="20577"/>
        <pc:sldMkLst>
          <pc:docMk/>
          <pc:sldMk cId="2070821379" sldId="1117"/>
        </pc:sldMkLst>
        <pc:spChg chg="mod">
          <ac:chgData name="Mitchell Logan" userId="dc7179b2-67a7-4bfc-9a9f-d0e660097d84" providerId="ADAL" clId="{D831C2ED-6FDD-4558-BE6C-D93827DDC0B3}" dt="2024-01-19T19:20:24.386" v="76" actId="20577"/>
          <ac:spMkLst>
            <pc:docMk/>
            <pc:sldMk cId="2070821379" sldId="1117"/>
            <ac:spMk id="3" creationId="{00000000-0000-0000-0000-000000000000}"/>
          </ac:spMkLst>
        </pc:spChg>
      </pc:sldChg>
      <pc:sldChg chg="modSp mod addCm delCm modCm">
        <pc:chgData name="Mitchell Logan" userId="dc7179b2-67a7-4bfc-9a9f-d0e660097d84" providerId="ADAL" clId="{D831C2ED-6FDD-4558-BE6C-D93827DDC0B3}" dt="2024-01-22T13:44:08.596" v="199" actId="20577"/>
        <pc:sldMkLst>
          <pc:docMk/>
          <pc:sldMk cId="1577154666" sldId="1119"/>
        </pc:sldMkLst>
        <pc:spChg chg="mod">
          <ac:chgData name="Mitchell Logan" userId="dc7179b2-67a7-4bfc-9a9f-d0e660097d84" providerId="ADAL" clId="{D831C2ED-6FDD-4558-BE6C-D93827DDC0B3}" dt="2024-01-22T13:44:08.596" v="199" actId="20577"/>
          <ac:spMkLst>
            <pc:docMk/>
            <pc:sldMk cId="1577154666" sldId="1119"/>
            <ac:spMk id="4" creationId="{CA5AE693-23A6-473D-947B-71435FAD576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del mod">
              <pc226:chgData name="Mitchell Logan" userId="dc7179b2-67a7-4bfc-9a9f-d0e660097d84" providerId="ADAL" clId="{D831C2ED-6FDD-4558-BE6C-D93827DDC0B3}" dt="2024-01-22T13:43:59.163" v="193"/>
              <pc2:cmMkLst xmlns:pc2="http://schemas.microsoft.com/office/powerpoint/2019/9/main/command">
                <pc:docMk/>
                <pc:sldMk cId="1577154666" sldId="1119"/>
                <pc2:cmMk id="{07D07109-BEB7-4509-B654-51004F1F253B}"/>
              </pc2:cmMkLst>
            </pc226:cmChg>
          </p:ext>
        </pc:extLst>
      </pc:sldChg>
      <pc:sldChg chg="modSp mod addCm delCm">
        <pc:chgData name="Mitchell Logan" userId="dc7179b2-67a7-4bfc-9a9f-d0e660097d84" providerId="ADAL" clId="{D831C2ED-6FDD-4558-BE6C-D93827DDC0B3}" dt="2024-01-23T02:31:55.660" v="686" actId="20577"/>
        <pc:sldMkLst>
          <pc:docMk/>
          <pc:sldMk cId="1257590593" sldId="1124"/>
        </pc:sldMkLst>
        <pc:spChg chg="mod">
          <ac:chgData name="Mitchell Logan" userId="dc7179b2-67a7-4bfc-9a9f-d0e660097d84" providerId="ADAL" clId="{D831C2ED-6FDD-4558-BE6C-D93827DDC0B3}" dt="2024-01-23T02:31:55.660" v="686" actId="20577"/>
          <ac:spMkLst>
            <pc:docMk/>
            <pc:sldMk cId="1257590593" sldId="1124"/>
            <ac:spMk id="9" creationId="{79FC9367-5589-163A-54B0-0A872CF6B95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del">
              <pc226:chgData name="Mitchell Logan" userId="dc7179b2-67a7-4bfc-9a9f-d0e660097d84" providerId="ADAL" clId="{D831C2ED-6FDD-4558-BE6C-D93827DDC0B3}" dt="2024-01-22T13:42:07.334" v="157"/>
              <pc2:cmMkLst xmlns:pc2="http://schemas.microsoft.com/office/powerpoint/2019/9/main/command">
                <pc:docMk/>
                <pc:sldMk cId="1257590593" sldId="1124"/>
                <pc2:cmMk id="{21598F1B-5B43-4A26-B2C0-902F4C825E29}"/>
              </pc2:cmMkLst>
            </pc226:cmChg>
          </p:ext>
        </pc:extLst>
      </pc:sldChg>
      <pc:sldChg chg="delSp modSp mod">
        <pc:chgData name="Mitchell Logan" userId="dc7179b2-67a7-4bfc-9a9f-d0e660097d84" providerId="ADAL" clId="{D831C2ED-6FDD-4558-BE6C-D93827DDC0B3}" dt="2024-01-22T20:21:05.590" v="524" actId="1076"/>
        <pc:sldMkLst>
          <pc:docMk/>
          <pc:sldMk cId="1977412846" sldId="1127"/>
        </pc:sldMkLst>
        <pc:picChg chg="mod">
          <ac:chgData name="Mitchell Logan" userId="dc7179b2-67a7-4bfc-9a9f-d0e660097d84" providerId="ADAL" clId="{D831C2ED-6FDD-4558-BE6C-D93827DDC0B3}" dt="2024-01-22T20:21:05.590" v="524" actId="1076"/>
          <ac:picMkLst>
            <pc:docMk/>
            <pc:sldMk cId="1977412846" sldId="1127"/>
            <ac:picMk id="2" creationId="{D506947D-9096-7E75-9EA3-69C9BFA924DB}"/>
          </ac:picMkLst>
        </pc:picChg>
        <pc:picChg chg="mod">
          <ac:chgData name="Mitchell Logan" userId="dc7179b2-67a7-4bfc-9a9f-d0e660097d84" providerId="ADAL" clId="{D831C2ED-6FDD-4558-BE6C-D93827DDC0B3}" dt="2024-01-22T20:18:10.654" v="513" actId="1076"/>
          <ac:picMkLst>
            <pc:docMk/>
            <pc:sldMk cId="1977412846" sldId="1127"/>
            <ac:picMk id="9226" creationId="{6B63DD2F-A1F2-403F-83F8-0F1FA3E1D927}"/>
          </ac:picMkLst>
        </pc:picChg>
        <pc:picChg chg="del">
          <ac:chgData name="Mitchell Logan" userId="dc7179b2-67a7-4bfc-9a9f-d0e660097d84" providerId="ADAL" clId="{D831C2ED-6FDD-4558-BE6C-D93827DDC0B3}" dt="2024-01-22T20:18:05.691" v="511" actId="478"/>
          <ac:picMkLst>
            <pc:docMk/>
            <pc:sldMk cId="1977412846" sldId="1127"/>
            <ac:picMk id="9228" creationId="{90659887-295A-481C-9DD6-EDB1DD856AD9}"/>
          </ac:picMkLst>
        </pc:picChg>
      </pc:sldChg>
      <pc:sldChg chg="modSp mod">
        <pc:chgData name="Mitchell Logan" userId="dc7179b2-67a7-4bfc-9a9f-d0e660097d84" providerId="ADAL" clId="{D831C2ED-6FDD-4558-BE6C-D93827DDC0B3}" dt="2024-01-22T20:29:59.030" v="551" actId="20577"/>
        <pc:sldMkLst>
          <pc:docMk/>
          <pc:sldMk cId="1263885223" sldId="1133"/>
        </pc:sldMkLst>
        <pc:spChg chg="mod">
          <ac:chgData name="Mitchell Logan" userId="dc7179b2-67a7-4bfc-9a9f-d0e660097d84" providerId="ADAL" clId="{D831C2ED-6FDD-4558-BE6C-D93827DDC0B3}" dt="2024-01-22T14:12:18.488" v="384" actId="1076"/>
          <ac:spMkLst>
            <pc:docMk/>
            <pc:sldMk cId="1263885223" sldId="1133"/>
            <ac:spMk id="3" creationId="{A3B872A7-F735-4C23-9D2E-E731B8406F9B}"/>
          </ac:spMkLst>
        </pc:spChg>
        <pc:spChg chg="mod">
          <ac:chgData name="Mitchell Logan" userId="dc7179b2-67a7-4bfc-9a9f-d0e660097d84" providerId="ADAL" clId="{D831C2ED-6FDD-4558-BE6C-D93827DDC0B3}" dt="2024-01-22T14:12:18.488" v="384" actId="1076"/>
          <ac:spMkLst>
            <pc:docMk/>
            <pc:sldMk cId="1263885223" sldId="1133"/>
            <ac:spMk id="4" creationId="{00000000-0000-0000-0000-000000000000}"/>
          </ac:spMkLst>
        </pc:spChg>
        <pc:spChg chg="mod">
          <ac:chgData name="Mitchell Logan" userId="dc7179b2-67a7-4bfc-9a9f-d0e660097d84" providerId="ADAL" clId="{D831C2ED-6FDD-4558-BE6C-D93827DDC0B3}" dt="2024-01-22T14:12:18.488" v="384" actId="1076"/>
          <ac:spMkLst>
            <pc:docMk/>
            <pc:sldMk cId="1263885223" sldId="1133"/>
            <ac:spMk id="5" creationId="{EED36670-D698-478F-9746-D6834663D732}"/>
          </ac:spMkLst>
        </pc:spChg>
        <pc:spChg chg="mod">
          <ac:chgData name="Mitchell Logan" userId="dc7179b2-67a7-4bfc-9a9f-d0e660097d84" providerId="ADAL" clId="{D831C2ED-6FDD-4558-BE6C-D93827DDC0B3}" dt="2024-01-22T14:14:33.286" v="403" actId="20577"/>
          <ac:spMkLst>
            <pc:docMk/>
            <pc:sldMk cId="1263885223" sldId="1133"/>
            <ac:spMk id="15" creationId="{66835339-4D57-E7EF-A4A9-196D9C55213E}"/>
          </ac:spMkLst>
        </pc:spChg>
        <pc:spChg chg="mod">
          <ac:chgData name="Mitchell Logan" userId="dc7179b2-67a7-4bfc-9a9f-d0e660097d84" providerId="ADAL" clId="{D831C2ED-6FDD-4558-BE6C-D93827DDC0B3}" dt="2024-01-22T14:12:18.488" v="384" actId="1076"/>
          <ac:spMkLst>
            <pc:docMk/>
            <pc:sldMk cId="1263885223" sldId="1133"/>
            <ac:spMk id="25" creationId="{C42CB5F3-2D31-BD5C-D636-B37D95BDD7A3}"/>
          </ac:spMkLst>
        </pc:spChg>
        <pc:spChg chg="mod">
          <ac:chgData name="Mitchell Logan" userId="dc7179b2-67a7-4bfc-9a9f-d0e660097d84" providerId="ADAL" clId="{D831C2ED-6FDD-4558-BE6C-D93827DDC0B3}" dt="2024-01-22T14:12:18.488" v="384" actId="1076"/>
          <ac:spMkLst>
            <pc:docMk/>
            <pc:sldMk cId="1263885223" sldId="1133"/>
            <ac:spMk id="26" creationId="{FDD33E5A-05E9-533D-2B57-F7780B347266}"/>
          </ac:spMkLst>
        </pc:spChg>
        <pc:graphicFrameChg chg="mod">
          <ac:chgData name="Mitchell Logan" userId="dc7179b2-67a7-4bfc-9a9f-d0e660097d84" providerId="ADAL" clId="{D831C2ED-6FDD-4558-BE6C-D93827DDC0B3}" dt="2024-01-22T20:29:59.030" v="551" actId="20577"/>
          <ac:graphicFrameMkLst>
            <pc:docMk/>
            <pc:sldMk cId="1263885223" sldId="1133"/>
            <ac:graphicFrameMk id="17" creationId="{B2745903-6944-492B-BBF4-6989DE0AE3ED}"/>
          </ac:graphicFrameMkLst>
        </pc:graphicFrameChg>
        <pc:picChg chg="mod">
          <ac:chgData name="Mitchell Logan" userId="dc7179b2-67a7-4bfc-9a9f-d0e660097d84" providerId="ADAL" clId="{D831C2ED-6FDD-4558-BE6C-D93827DDC0B3}" dt="2024-01-22T14:12:18.488" v="384" actId="1076"/>
          <ac:picMkLst>
            <pc:docMk/>
            <pc:sldMk cId="1263885223" sldId="1133"/>
            <ac:picMk id="24" creationId="{6D9E242F-F552-29D1-CCDC-377E2F34506C}"/>
          </ac:picMkLst>
        </pc:picChg>
      </pc:sldChg>
      <pc:sldChg chg="del">
        <pc:chgData name="Mitchell Logan" userId="dc7179b2-67a7-4bfc-9a9f-d0e660097d84" providerId="ADAL" clId="{D831C2ED-6FDD-4558-BE6C-D93827DDC0B3}" dt="2024-01-23T02:31:34.779" v="653" actId="47"/>
        <pc:sldMkLst>
          <pc:docMk/>
          <pc:sldMk cId="2470644040" sldId="1135"/>
        </pc:sldMkLst>
      </pc:sldChg>
    </pc:docChg>
  </pc:docChgLst>
  <pc:docChgLst>
    <pc:chgData name="Russell Krenek" userId="S::russell.krenek@novelis.com::cdf4f6c4-82be-40f8-9606-d0be13df5c1d" providerId="AD" clId="Web-{3B6D3EAB-A0BD-7A18-766C-D1BD7FDE560C}"/>
    <pc:docChg chg="modSld">
      <pc:chgData name="Russell Krenek" userId="S::russell.krenek@novelis.com::cdf4f6c4-82be-40f8-9606-d0be13df5c1d" providerId="AD" clId="Web-{3B6D3EAB-A0BD-7A18-766C-D1BD7FDE560C}" dt="2024-01-22T14:55:28.510" v="0" actId="20577"/>
      <pc:docMkLst>
        <pc:docMk/>
      </pc:docMkLst>
      <pc:sldChg chg="modSp">
        <pc:chgData name="Russell Krenek" userId="S::russell.krenek@novelis.com::cdf4f6c4-82be-40f8-9606-d0be13df5c1d" providerId="AD" clId="Web-{3B6D3EAB-A0BD-7A18-766C-D1BD7FDE560C}" dt="2024-01-22T14:55:28.510" v="0" actId="20577"/>
        <pc:sldMkLst>
          <pc:docMk/>
          <pc:sldMk cId="2219496797" sldId="1106"/>
        </pc:sldMkLst>
        <pc:spChg chg="mod">
          <ac:chgData name="Russell Krenek" userId="S::russell.krenek@novelis.com::cdf4f6c4-82be-40f8-9606-d0be13df5c1d" providerId="AD" clId="Web-{3B6D3EAB-A0BD-7A18-766C-D1BD7FDE560C}" dt="2024-01-22T14:55:28.510" v="0" actId="20577"/>
          <ac:spMkLst>
            <pc:docMk/>
            <pc:sldMk cId="2219496797" sldId="1106"/>
            <ac:spMk id="3" creationId="{00000000-0000-0000-0000-000000000000}"/>
          </ac:spMkLst>
        </pc:spChg>
      </pc:sldChg>
    </pc:docChg>
  </pc:docChgLst>
  <pc:docChgLst>
    <pc:chgData name="Russell Krenek" userId="S::russell.krenek@novelis.com::cdf4f6c4-82be-40f8-9606-d0be13df5c1d" providerId="AD" clId="Web-{27C3EB47-1F18-CF68-6C3C-B067BF480176}"/>
    <pc:docChg chg="">
      <pc:chgData name="Russell Krenek" userId="S::russell.krenek@novelis.com::cdf4f6c4-82be-40f8-9606-d0be13df5c1d" providerId="AD" clId="Web-{27C3EB47-1F18-CF68-6C3C-B067BF480176}" dt="2024-01-19T20:13:44.056" v="4"/>
      <pc:docMkLst>
        <pc:docMk/>
      </pc:docMkLst>
      <pc:sldChg chg="modCm">
        <pc:chgData name="Russell Krenek" userId="S::russell.krenek@novelis.com::cdf4f6c4-82be-40f8-9606-d0be13df5c1d" providerId="AD" clId="Web-{27C3EB47-1F18-CF68-6C3C-B067BF480176}" dt="2024-01-19T20:13:44.056" v="4"/>
        <pc:sldMkLst>
          <pc:docMk/>
          <pc:sldMk cId="2219496797" sldId="1106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Russell Krenek" userId="S::russell.krenek@novelis.com::cdf4f6c4-82be-40f8-9606-d0be13df5c1d" providerId="AD" clId="Web-{27C3EB47-1F18-CF68-6C3C-B067BF480176}" dt="2024-01-19T20:13:44.056" v="4"/>
              <pc2:cmMkLst xmlns:pc2="http://schemas.microsoft.com/office/powerpoint/2019/9/main/command">
                <pc:docMk/>
                <pc:sldMk cId="2219496797" sldId="1106"/>
                <pc2:cmMk id="{FFDBE45A-3A17-4C3D-A569-D7ABE152C455}"/>
              </pc2:cmMkLst>
              <pc226:cmRplyChg chg="add">
                <pc226:chgData name="Russell Krenek" userId="S::russell.krenek@novelis.com::cdf4f6c4-82be-40f8-9606-d0be13df5c1d" providerId="AD" clId="Web-{27C3EB47-1F18-CF68-6C3C-B067BF480176}" dt="2024-01-19T20:13:44.056" v="4"/>
                <pc2:cmRplyMkLst xmlns:pc2="http://schemas.microsoft.com/office/powerpoint/2019/9/main/command">
                  <pc:docMk/>
                  <pc:sldMk cId="2219496797" sldId="1106"/>
                  <pc2:cmMk id="{FFDBE45A-3A17-4C3D-A569-D7ABE152C455}"/>
                  <pc2:cmRplyMk id="{C2119712-51AA-48D7-86B1-DD6F8124EFD3}"/>
                </pc2:cmRplyMkLst>
              </pc226:cmRplyChg>
              <pc226:cmRplyChg chg="add">
                <pc226:chgData name="Russell Krenek" userId="S::russell.krenek@novelis.com::cdf4f6c4-82be-40f8-9606-d0be13df5c1d" providerId="AD" clId="Web-{27C3EB47-1F18-CF68-6C3C-B067BF480176}" dt="2024-01-19T20:07:33.795" v="0"/>
                <pc2:cmRplyMkLst xmlns:pc2="http://schemas.microsoft.com/office/powerpoint/2019/9/main/command">
                  <pc:docMk/>
                  <pc:sldMk cId="2219496797" sldId="1106"/>
                  <pc2:cmMk id="{FFDBE45A-3A17-4C3D-A569-D7ABE152C455}"/>
                  <pc2:cmRplyMk id="{55FE7E2B-C284-44A7-B874-D398EB380D46}"/>
                </pc2:cmRplyMkLst>
              </pc226:cmRplyChg>
              <pc226:cmRplyChg chg="add">
                <pc226:chgData name="Russell Krenek" userId="S::russell.krenek@novelis.com::cdf4f6c4-82be-40f8-9606-d0be13df5c1d" providerId="AD" clId="Web-{27C3EB47-1F18-CF68-6C3C-B067BF480176}" dt="2024-01-19T20:12:31.100" v="3"/>
                <pc2:cmRplyMkLst xmlns:pc2="http://schemas.microsoft.com/office/powerpoint/2019/9/main/command">
                  <pc:docMk/>
                  <pc:sldMk cId="2219496797" sldId="1106"/>
                  <pc2:cmMk id="{FFDBE45A-3A17-4C3D-A569-D7ABE152C455}"/>
                  <pc2:cmRplyMk id="{858C3B36-B93E-4042-9BA2-255896D3EAAC}"/>
                </pc2:cmRplyMkLst>
              </pc226:cmRplyChg>
              <pc226:cmRplyChg chg="add del">
                <pc226:chgData name="Russell Krenek" userId="S::russell.krenek@novelis.com::cdf4f6c4-82be-40f8-9606-d0be13df5c1d" providerId="AD" clId="Web-{27C3EB47-1F18-CF68-6C3C-B067BF480176}" dt="2024-01-19T20:11:48.646" v="2"/>
                <pc2:cmRplyMkLst xmlns:pc2="http://schemas.microsoft.com/office/powerpoint/2019/9/main/command">
                  <pc:docMk/>
                  <pc:sldMk cId="2219496797" sldId="1106"/>
                  <pc2:cmMk id="{FFDBE45A-3A17-4C3D-A569-D7ABE152C455}"/>
                  <pc2:cmRplyMk id="{82BFD46E-2F1D-4513-935F-2EC237D0A59B}"/>
                </pc2:cmRplyMkLst>
              </pc226:cmRplyChg>
            </pc226:cmChg>
          </p:ext>
        </pc:extLst>
      </pc:sldChg>
    </pc:docChg>
  </pc:docChgLst>
  <pc:docChgLst>
    <pc:chgData name="Mitchell Logan" userId="dc7179b2-67a7-4bfc-9a9f-d0e660097d84" providerId="ADAL" clId="{A9409CCE-727A-422C-8E89-96E1B1A0B932}"/>
    <pc:docChg chg="undo redo custSel addSld delSld modSld">
      <pc:chgData name="Mitchell Logan" userId="dc7179b2-67a7-4bfc-9a9f-d0e660097d84" providerId="ADAL" clId="{A9409CCE-727A-422C-8E89-96E1B1A0B932}" dt="2024-01-19T15:30:39.381" v="1279" actId="14100"/>
      <pc:docMkLst>
        <pc:docMk/>
      </pc:docMkLst>
      <pc:sldChg chg="modSp mod">
        <pc:chgData name="Mitchell Logan" userId="dc7179b2-67a7-4bfc-9a9f-d0e660097d84" providerId="ADAL" clId="{A9409CCE-727A-422C-8E89-96E1B1A0B932}" dt="2024-01-18T13:15:55.714" v="916" actId="20577"/>
        <pc:sldMkLst>
          <pc:docMk/>
          <pc:sldMk cId="2888733927" sldId="1025"/>
        </pc:sldMkLst>
        <pc:spChg chg="mod">
          <ac:chgData name="Mitchell Logan" userId="dc7179b2-67a7-4bfc-9a9f-d0e660097d84" providerId="ADAL" clId="{A9409CCE-727A-422C-8E89-96E1B1A0B932}" dt="2024-01-18T13:15:55.714" v="916" actId="20577"/>
          <ac:spMkLst>
            <pc:docMk/>
            <pc:sldMk cId="2888733927" sldId="1025"/>
            <ac:spMk id="3" creationId="{00000000-0000-0000-0000-000000000000}"/>
          </ac:spMkLst>
        </pc:spChg>
      </pc:sldChg>
      <pc:sldChg chg="del">
        <pc:chgData name="Mitchell Logan" userId="dc7179b2-67a7-4bfc-9a9f-d0e660097d84" providerId="ADAL" clId="{A9409CCE-727A-422C-8E89-96E1B1A0B932}" dt="2024-01-18T13:42:46.516" v="1066" actId="47"/>
        <pc:sldMkLst>
          <pc:docMk/>
          <pc:sldMk cId="2633475587" sldId="1095"/>
        </pc:sldMkLst>
      </pc:sldChg>
      <pc:sldChg chg="del">
        <pc:chgData name="Mitchell Logan" userId="dc7179b2-67a7-4bfc-9a9f-d0e660097d84" providerId="ADAL" clId="{A9409CCE-727A-422C-8E89-96E1B1A0B932}" dt="2024-01-18T13:42:46.516" v="1066" actId="47"/>
        <pc:sldMkLst>
          <pc:docMk/>
          <pc:sldMk cId="942635" sldId="1098"/>
        </pc:sldMkLst>
      </pc:sldChg>
      <pc:sldChg chg="modSp del mod">
        <pc:chgData name="Mitchell Logan" userId="dc7179b2-67a7-4bfc-9a9f-d0e660097d84" providerId="ADAL" clId="{A9409CCE-727A-422C-8E89-96E1B1A0B932}" dt="2024-01-18T13:42:46.516" v="1066" actId="47"/>
        <pc:sldMkLst>
          <pc:docMk/>
          <pc:sldMk cId="1112661969" sldId="1099"/>
        </pc:sldMkLst>
        <pc:spChg chg="mod">
          <ac:chgData name="Mitchell Logan" userId="dc7179b2-67a7-4bfc-9a9f-d0e660097d84" providerId="ADAL" clId="{A9409CCE-727A-422C-8E89-96E1B1A0B932}" dt="2024-01-02T18:43:32.612" v="254" actId="1076"/>
          <ac:spMkLst>
            <pc:docMk/>
            <pc:sldMk cId="1112661969" sldId="1099"/>
            <ac:spMk id="70" creationId="{73D82593-10B6-4491-9E85-0A43268AD614}"/>
          </ac:spMkLst>
        </pc:spChg>
      </pc:sldChg>
      <pc:sldChg chg="delSp modSp mod addCm delCm modCm">
        <pc:chgData name="Mitchell Logan" userId="dc7179b2-67a7-4bfc-9a9f-d0e660097d84" providerId="ADAL" clId="{A9409CCE-727A-422C-8E89-96E1B1A0B932}" dt="2024-01-19T15:30:39.381" v="1279" actId="14100"/>
        <pc:sldMkLst>
          <pc:docMk/>
          <pc:sldMk cId="2191442942" sldId="1102"/>
        </pc:sldMkLst>
        <pc:spChg chg="mod">
          <ac:chgData name="Mitchell Logan" userId="dc7179b2-67a7-4bfc-9a9f-d0e660097d84" providerId="ADAL" clId="{A9409CCE-727A-422C-8E89-96E1B1A0B932}" dt="2024-01-02T18:35:50.745" v="251" actId="20577"/>
          <ac:spMkLst>
            <pc:docMk/>
            <pc:sldMk cId="2191442942" sldId="1102"/>
            <ac:spMk id="2" creationId="{00000000-0000-0000-0000-000000000000}"/>
          </ac:spMkLst>
        </pc:spChg>
        <pc:spChg chg="del mod">
          <ac:chgData name="Mitchell Logan" userId="dc7179b2-67a7-4bfc-9a9f-d0e660097d84" providerId="ADAL" clId="{A9409CCE-727A-422C-8E89-96E1B1A0B932}" dt="2024-01-02T16:26:01.333" v="75" actId="478"/>
          <ac:spMkLst>
            <pc:docMk/>
            <pc:sldMk cId="2191442942" sldId="1102"/>
            <ac:spMk id="7" creationId="{00000000-0000-0000-0000-000000000000}"/>
          </ac:spMkLst>
        </pc:spChg>
        <pc:spChg chg="mod">
          <ac:chgData name="Mitchell Logan" userId="dc7179b2-67a7-4bfc-9a9f-d0e660097d84" providerId="ADAL" clId="{A9409CCE-727A-422C-8E89-96E1B1A0B932}" dt="2024-01-02T16:26:09.666" v="101" actId="1036"/>
          <ac:spMkLst>
            <pc:docMk/>
            <pc:sldMk cId="2191442942" sldId="1102"/>
            <ac:spMk id="8" creationId="{00000000-0000-0000-0000-000000000000}"/>
          </ac:spMkLst>
        </pc:spChg>
        <pc:spChg chg="mod">
          <ac:chgData name="Mitchell Logan" userId="dc7179b2-67a7-4bfc-9a9f-d0e660097d84" providerId="ADAL" clId="{A9409CCE-727A-422C-8E89-96E1B1A0B932}" dt="2024-01-02T16:26:09.666" v="101" actId="1036"/>
          <ac:spMkLst>
            <pc:docMk/>
            <pc:sldMk cId="2191442942" sldId="1102"/>
            <ac:spMk id="9" creationId="{00000000-0000-0000-0000-000000000000}"/>
          </ac:spMkLst>
        </pc:spChg>
        <pc:spChg chg="mod">
          <ac:chgData name="Mitchell Logan" userId="dc7179b2-67a7-4bfc-9a9f-d0e660097d84" providerId="ADAL" clId="{A9409CCE-727A-422C-8E89-96E1B1A0B932}" dt="2024-01-02T16:31:20.392" v="190" actId="14100"/>
          <ac:spMkLst>
            <pc:docMk/>
            <pc:sldMk cId="2191442942" sldId="1102"/>
            <ac:spMk id="10" creationId="{00000000-0000-0000-0000-000000000000}"/>
          </ac:spMkLst>
        </pc:spChg>
        <pc:spChg chg="mod">
          <ac:chgData name="Mitchell Logan" userId="dc7179b2-67a7-4bfc-9a9f-d0e660097d84" providerId="ADAL" clId="{A9409CCE-727A-422C-8E89-96E1B1A0B932}" dt="2024-01-02T16:26:09.666" v="101" actId="1036"/>
          <ac:spMkLst>
            <pc:docMk/>
            <pc:sldMk cId="2191442942" sldId="1102"/>
            <ac:spMk id="11" creationId="{00000000-0000-0000-0000-000000000000}"/>
          </ac:spMkLst>
        </pc:spChg>
        <pc:spChg chg="mod">
          <ac:chgData name="Mitchell Logan" userId="dc7179b2-67a7-4bfc-9a9f-d0e660097d84" providerId="ADAL" clId="{A9409CCE-727A-422C-8E89-96E1B1A0B932}" dt="2024-01-19T15:23:46.528" v="1276" actId="20577"/>
          <ac:spMkLst>
            <pc:docMk/>
            <pc:sldMk cId="2191442942" sldId="1102"/>
            <ac:spMk id="12" creationId="{00000000-0000-0000-0000-000000000000}"/>
          </ac:spMkLst>
        </pc:spChg>
        <pc:spChg chg="mod">
          <ac:chgData name="Mitchell Logan" userId="dc7179b2-67a7-4bfc-9a9f-d0e660097d84" providerId="ADAL" clId="{A9409CCE-727A-422C-8E89-96E1B1A0B932}" dt="2024-01-19T15:30:39.381" v="1279" actId="14100"/>
          <ac:spMkLst>
            <pc:docMk/>
            <pc:sldMk cId="2191442942" sldId="1102"/>
            <ac:spMk id="14" creationId="{00000000-0000-0000-0000-000000000000}"/>
          </ac:spMkLst>
        </pc:spChg>
        <pc:spChg chg="mod">
          <ac:chgData name="Mitchell Logan" userId="dc7179b2-67a7-4bfc-9a9f-d0e660097d84" providerId="ADAL" clId="{A9409CCE-727A-422C-8E89-96E1B1A0B932}" dt="2024-01-02T16:26:09.666" v="101" actId="1036"/>
          <ac:spMkLst>
            <pc:docMk/>
            <pc:sldMk cId="2191442942" sldId="1102"/>
            <ac:spMk id="15" creationId="{00000000-0000-0000-0000-000000000000}"/>
          </ac:spMkLst>
        </pc:spChg>
        <pc:spChg chg="mod">
          <ac:chgData name="Mitchell Logan" userId="dc7179b2-67a7-4bfc-9a9f-d0e660097d84" providerId="ADAL" clId="{A9409CCE-727A-422C-8E89-96E1B1A0B932}" dt="2024-01-18T13:24:01.133" v="937" actId="20577"/>
          <ac:spMkLst>
            <pc:docMk/>
            <pc:sldMk cId="2191442942" sldId="1102"/>
            <ac:spMk id="16" creationId="{00000000-0000-0000-0000-000000000000}"/>
          </ac:spMkLst>
        </pc:spChg>
        <pc:spChg chg="mod">
          <ac:chgData name="Mitchell Logan" userId="dc7179b2-67a7-4bfc-9a9f-d0e660097d84" providerId="ADAL" clId="{A9409CCE-727A-422C-8E89-96E1B1A0B932}" dt="2024-01-02T16:26:09.666" v="101" actId="1036"/>
          <ac:spMkLst>
            <pc:docMk/>
            <pc:sldMk cId="2191442942" sldId="1102"/>
            <ac:spMk id="17" creationId="{00000000-0000-0000-0000-000000000000}"/>
          </ac:spMkLst>
        </pc:spChg>
        <pc:spChg chg="mod">
          <ac:chgData name="Mitchell Logan" userId="dc7179b2-67a7-4bfc-9a9f-d0e660097d84" providerId="ADAL" clId="{A9409CCE-727A-422C-8E89-96E1B1A0B932}" dt="2024-01-02T16:26:09.666" v="101" actId="1036"/>
          <ac:spMkLst>
            <pc:docMk/>
            <pc:sldMk cId="2191442942" sldId="1102"/>
            <ac:spMk id="21" creationId="{00000000-0000-0000-0000-000000000000}"/>
          </ac:spMkLst>
        </pc:spChg>
        <pc:spChg chg="mod">
          <ac:chgData name="Mitchell Logan" userId="dc7179b2-67a7-4bfc-9a9f-d0e660097d84" providerId="ADAL" clId="{A9409CCE-727A-422C-8E89-96E1B1A0B932}" dt="2024-01-02T16:26:09.666" v="101" actId="1036"/>
          <ac:spMkLst>
            <pc:docMk/>
            <pc:sldMk cId="2191442942" sldId="1102"/>
            <ac:spMk id="23" creationId="{00000000-0000-0000-0000-000000000000}"/>
          </ac:spMkLst>
        </pc:spChg>
        <pc:spChg chg="mod">
          <ac:chgData name="Mitchell Logan" userId="dc7179b2-67a7-4bfc-9a9f-d0e660097d84" providerId="ADAL" clId="{A9409CCE-727A-422C-8E89-96E1B1A0B932}" dt="2024-01-02T16:26:09.666" v="101" actId="1036"/>
          <ac:spMkLst>
            <pc:docMk/>
            <pc:sldMk cId="2191442942" sldId="1102"/>
            <ac:spMk id="24" creationId="{00000000-0000-0000-0000-000000000000}"/>
          </ac:spMkLst>
        </pc:spChg>
        <pc:spChg chg="mod">
          <ac:chgData name="Mitchell Logan" userId="dc7179b2-67a7-4bfc-9a9f-d0e660097d84" providerId="ADAL" clId="{A9409CCE-727A-422C-8E89-96E1B1A0B932}" dt="2024-01-02T16:26:09.666" v="101" actId="1036"/>
          <ac:spMkLst>
            <pc:docMk/>
            <pc:sldMk cId="2191442942" sldId="1102"/>
            <ac:spMk id="26" creationId="{00000000-0000-0000-0000-000000000000}"/>
          </ac:spMkLst>
        </pc:spChg>
        <pc:spChg chg="mod">
          <ac:chgData name="Mitchell Logan" userId="dc7179b2-67a7-4bfc-9a9f-d0e660097d84" providerId="ADAL" clId="{A9409CCE-727A-422C-8E89-96E1B1A0B932}" dt="2024-01-02T16:26:09.666" v="101" actId="1036"/>
          <ac:spMkLst>
            <pc:docMk/>
            <pc:sldMk cId="2191442942" sldId="1102"/>
            <ac:spMk id="32" creationId="{00000000-0000-0000-0000-000000000000}"/>
          </ac:spMkLst>
        </pc:spChg>
        <pc:spChg chg="mod">
          <ac:chgData name="Mitchell Logan" userId="dc7179b2-67a7-4bfc-9a9f-d0e660097d84" providerId="ADAL" clId="{A9409CCE-727A-422C-8E89-96E1B1A0B932}" dt="2024-01-02T16:26:09.666" v="101" actId="1036"/>
          <ac:spMkLst>
            <pc:docMk/>
            <pc:sldMk cId="2191442942" sldId="1102"/>
            <ac:spMk id="34" creationId="{00000000-0000-0000-0000-000000000000}"/>
          </ac:spMkLst>
        </pc:spChg>
        <pc:spChg chg="mod">
          <ac:chgData name="Mitchell Logan" userId="dc7179b2-67a7-4bfc-9a9f-d0e660097d84" providerId="ADAL" clId="{A9409CCE-727A-422C-8E89-96E1B1A0B932}" dt="2024-01-02T16:26:09.666" v="101" actId="1036"/>
          <ac:spMkLst>
            <pc:docMk/>
            <pc:sldMk cId="2191442942" sldId="1102"/>
            <ac:spMk id="35" creationId="{00000000-0000-0000-0000-000000000000}"/>
          </ac:spMkLst>
        </pc:spChg>
        <pc:spChg chg="del">
          <ac:chgData name="Mitchell Logan" userId="dc7179b2-67a7-4bfc-9a9f-d0e660097d84" providerId="ADAL" clId="{A9409CCE-727A-422C-8E89-96E1B1A0B932}" dt="2024-01-02T16:18:52.939" v="8" actId="478"/>
          <ac:spMkLst>
            <pc:docMk/>
            <pc:sldMk cId="2191442942" sldId="1102"/>
            <ac:spMk id="36" creationId="{00000000-0000-0000-0000-000000000000}"/>
          </ac:spMkLst>
        </pc:spChg>
        <pc:spChg chg="mod">
          <ac:chgData name="Mitchell Logan" userId="dc7179b2-67a7-4bfc-9a9f-d0e660097d84" providerId="ADAL" clId="{A9409CCE-727A-422C-8E89-96E1B1A0B932}" dt="2024-01-02T16:26:09.666" v="101" actId="1036"/>
          <ac:spMkLst>
            <pc:docMk/>
            <pc:sldMk cId="2191442942" sldId="1102"/>
            <ac:spMk id="38" creationId="{00000000-0000-0000-0000-000000000000}"/>
          </ac:spMkLst>
        </pc:spChg>
        <pc:spChg chg="mod">
          <ac:chgData name="Mitchell Logan" userId="dc7179b2-67a7-4bfc-9a9f-d0e660097d84" providerId="ADAL" clId="{A9409CCE-727A-422C-8E89-96E1B1A0B932}" dt="2024-01-02T16:29:29.833" v="133" actId="20577"/>
          <ac:spMkLst>
            <pc:docMk/>
            <pc:sldMk cId="2191442942" sldId="1102"/>
            <ac:spMk id="39" creationId="{00000000-0000-0000-0000-000000000000}"/>
          </ac:spMkLst>
        </pc:spChg>
        <pc:spChg chg="mod">
          <ac:chgData name="Mitchell Logan" userId="dc7179b2-67a7-4bfc-9a9f-d0e660097d84" providerId="ADAL" clId="{A9409CCE-727A-422C-8E89-96E1B1A0B932}" dt="2024-01-02T16:29:32.208" v="137" actId="20577"/>
          <ac:spMkLst>
            <pc:docMk/>
            <pc:sldMk cId="2191442942" sldId="1102"/>
            <ac:spMk id="40" creationId="{00000000-0000-0000-0000-000000000000}"/>
          </ac:spMkLst>
        </pc:spChg>
        <pc:spChg chg="del">
          <ac:chgData name="Mitchell Logan" userId="dc7179b2-67a7-4bfc-9a9f-d0e660097d84" providerId="ADAL" clId="{A9409CCE-727A-422C-8E89-96E1B1A0B932}" dt="2024-01-02T16:25:58.928" v="74" actId="478"/>
          <ac:spMkLst>
            <pc:docMk/>
            <pc:sldMk cId="2191442942" sldId="1102"/>
            <ac:spMk id="41" creationId="{00000000-0000-0000-0000-000000000000}"/>
          </ac:spMkLst>
        </pc:spChg>
        <pc:spChg chg="mod">
          <ac:chgData name="Mitchell Logan" userId="dc7179b2-67a7-4bfc-9a9f-d0e660097d84" providerId="ADAL" clId="{A9409CCE-727A-422C-8E89-96E1B1A0B932}" dt="2024-01-02T16:26:09.666" v="101" actId="1036"/>
          <ac:spMkLst>
            <pc:docMk/>
            <pc:sldMk cId="2191442942" sldId="1102"/>
            <ac:spMk id="43" creationId="{00000000-0000-0000-0000-000000000000}"/>
          </ac:spMkLst>
        </pc:spChg>
        <pc:picChg chg="del">
          <ac:chgData name="Mitchell Logan" userId="dc7179b2-67a7-4bfc-9a9f-d0e660097d84" providerId="ADAL" clId="{A9409CCE-727A-422C-8E89-96E1B1A0B932}" dt="2024-01-02T16:18:49.988" v="7" actId="478"/>
          <ac:picMkLst>
            <pc:docMk/>
            <pc:sldMk cId="2191442942" sldId="1102"/>
            <ac:picMk id="37" creationId="{00000000-0000-0000-0000-000000000000}"/>
          </ac:picMkLst>
        </pc:picChg>
        <pc:cxnChg chg="del">
          <ac:chgData name="Mitchell Logan" userId="dc7179b2-67a7-4bfc-9a9f-d0e660097d84" providerId="ADAL" clId="{A9409CCE-727A-422C-8E89-96E1B1A0B932}" dt="2024-01-02T16:20:02.736" v="15" actId="478"/>
          <ac:cxnSpMkLst>
            <pc:docMk/>
            <pc:sldMk cId="2191442942" sldId="1102"/>
            <ac:cxnSpMk id="5" creationId="{00000000-0000-0000-0000-000000000000}"/>
          </ac:cxnSpMkLst>
        </pc:cxnChg>
        <pc:cxnChg chg="del mod">
          <ac:chgData name="Mitchell Logan" userId="dc7179b2-67a7-4bfc-9a9f-d0e660097d84" providerId="ADAL" clId="{A9409CCE-727A-422C-8E89-96E1B1A0B932}" dt="2024-01-02T16:18:54.426" v="9" actId="478"/>
          <ac:cxnSpMkLst>
            <pc:docMk/>
            <pc:sldMk cId="2191442942" sldId="1102"/>
            <ac:cxnSpMk id="33" creationId="{00000000-0000-0000-0000-000000000000}"/>
          </ac:cxnSpMkLst>
        </pc:cxn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Mitchell Logan" userId="dc7179b2-67a7-4bfc-9a9f-d0e660097d84" providerId="ADAL" clId="{A9409CCE-727A-422C-8E89-96E1B1A0B932}" dt="2024-01-18T13:21:42.854" v="917"/>
              <pc2:cmMkLst xmlns:pc2="http://schemas.microsoft.com/office/powerpoint/2019/9/main/command">
                <pc:docMk/>
                <pc:sldMk cId="2191442942" sldId="1102"/>
                <pc2:cmMk id="{1AB8AD12-05D3-418E-9208-1F9EBBFAE656}"/>
              </pc2:cmMkLst>
            </pc226:cmChg>
            <pc226:cmChg xmlns:pc226="http://schemas.microsoft.com/office/powerpoint/2022/06/main/command" chg="del">
              <pc226:chgData name="Mitchell Logan" userId="dc7179b2-67a7-4bfc-9a9f-d0e660097d84" providerId="ADAL" clId="{A9409CCE-727A-422C-8E89-96E1B1A0B932}" dt="2024-01-18T13:21:52.042" v="918"/>
              <pc2:cmMkLst xmlns:pc2="http://schemas.microsoft.com/office/powerpoint/2019/9/main/command">
                <pc:docMk/>
                <pc:sldMk cId="2191442942" sldId="1102"/>
                <pc2:cmMk id="{7938301F-8D78-42D0-8303-CEC6D0F8C508}"/>
              </pc2:cmMkLst>
            </pc226:cmChg>
            <pc226:cmChg xmlns:pc226="http://schemas.microsoft.com/office/powerpoint/2022/06/main/command" chg="del mod">
              <pc226:chgData name="Mitchell Logan" userId="dc7179b2-67a7-4bfc-9a9f-d0e660097d84" providerId="ADAL" clId="{A9409CCE-727A-422C-8E89-96E1B1A0B932}" dt="2024-01-18T13:24:04.867" v="938"/>
              <pc2:cmMkLst xmlns:pc2="http://schemas.microsoft.com/office/powerpoint/2019/9/main/command">
                <pc:docMk/>
                <pc:sldMk cId="2191442942" sldId="1102"/>
                <pc2:cmMk id="{10698839-E273-40E2-A89D-202DF7A52E35}"/>
              </pc2:cmMkLst>
            </pc226:cmChg>
            <pc226:cmChg xmlns:pc226="http://schemas.microsoft.com/office/powerpoint/2022/06/main/command" chg="del">
              <pc226:chgData name="Mitchell Logan" userId="dc7179b2-67a7-4bfc-9a9f-d0e660097d84" providerId="ADAL" clId="{A9409CCE-727A-422C-8E89-96E1B1A0B932}" dt="2024-01-18T13:24:07.552" v="939"/>
              <pc2:cmMkLst xmlns:pc2="http://schemas.microsoft.com/office/powerpoint/2019/9/main/command">
                <pc:docMk/>
                <pc:sldMk cId="2191442942" sldId="1102"/>
                <pc2:cmMk id="{167B3B62-6FA2-437B-B9F3-5CF0C61505E0}"/>
              </pc2:cmMkLst>
            </pc226:cmChg>
          </p:ext>
        </pc:extLst>
      </pc:sldChg>
      <pc:sldChg chg="addCm">
        <pc:chgData name="Mitchell Logan" userId="dc7179b2-67a7-4bfc-9a9f-d0e660097d84" providerId="ADAL" clId="{A9409CCE-727A-422C-8E89-96E1B1A0B932}" dt="2024-01-02T18:38:09.457" v="252"/>
        <pc:sldMkLst>
          <pc:docMk/>
          <pc:sldMk cId="2219496797" sldId="1106"/>
        </pc:sldMkLst>
      </pc:sldChg>
      <pc:sldChg chg="modSp mod addCm">
        <pc:chgData name="Mitchell Logan" userId="dc7179b2-67a7-4bfc-9a9f-d0e660097d84" providerId="ADAL" clId="{A9409CCE-727A-422C-8E89-96E1B1A0B932}" dt="2024-01-02T18:25:14.806" v="230"/>
        <pc:sldMkLst>
          <pc:docMk/>
          <pc:sldMk cId="457235183" sldId="1107"/>
        </pc:sldMkLst>
        <pc:spChg chg="mod">
          <ac:chgData name="Mitchell Logan" userId="dc7179b2-67a7-4bfc-9a9f-d0e660097d84" providerId="ADAL" clId="{A9409CCE-727A-422C-8E89-96E1B1A0B932}" dt="2024-01-02T18:22:04.625" v="228" actId="20577"/>
          <ac:spMkLst>
            <pc:docMk/>
            <pc:sldMk cId="457235183" sldId="1107"/>
            <ac:spMk id="3" creationId="{00000000-0000-0000-0000-000000000000}"/>
          </ac:spMkLst>
        </pc:spChg>
      </pc:sldChg>
      <pc:sldChg chg="addSp delSp modSp mod">
        <pc:chgData name="Mitchell Logan" userId="dc7179b2-67a7-4bfc-9a9f-d0e660097d84" providerId="ADAL" clId="{A9409CCE-727A-422C-8E89-96E1B1A0B932}" dt="2024-01-18T13:13:54.086" v="895" actId="1076"/>
        <pc:sldMkLst>
          <pc:docMk/>
          <pc:sldMk cId="1931622370" sldId="1121"/>
        </pc:sldMkLst>
        <pc:spChg chg="mod">
          <ac:chgData name="Mitchell Logan" userId="dc7179b2-67a7-4bfc-9a9f-d0e660097d84" providerId="ADAL" clId="{A9409CCE-727A-422C-8E89-96E1B1A0B932}" dt="2024-01-18T13:12:55.071" v="891" actId="20577"/>
          <ac:spMkLst>
            <pc:docMk/>
            <pc:sldMk cId="1931622370" sldId="1121"/>
            <ac:spMk id="8" creationId="{A964644A-6156-4B4D-8A91-8F1148EBADD9}"/>
          </ac:spMkLst>
        </pc:spChg>
        <pc:spChg chg="mod">
          <ac:chgData name="Mitchell Logan" userId="dc7179b2-67a7-4bfc-9a9f-d0e660097d84" providerId="ADAL" clId="{A9409CCE-727A-422C-8E89-96E1B1A0B932}" dt="2024-01-18T13:07:22.065" v="783" actId="20577"/>
          <ac:spMkLst>
            <pc:docMk/>
            <pc:sldMk cId="1931622370" sldId="1121"/>
            <ac:spMk id="9" creationId="{7EDD71BD-CAC8-4EAF-BB9C-FF23905600F9}"/>
          </ac:spMkLst>
        </pc:spChg>
        <pc:picChg chg="add mod">
          <ac:chgData name="Mitchell Logan" userId="dc7179b2-67a7-4bfc-9a9f-d0e660097d84" providerId="ADAL" clId="{A9409CCE-727A-422C-8E89-96E1B1A0B932}" dt="2024-01-18T13:13:54.086" v="895" actId="1076"/>
          <ac:picMkLst>
            <pc:docMk/>
            <pc:sldMk cId="1931622370" sldId="1121"/>
            <ac:picMk id="5" creationId="{CC457FCA-0267-F511-CF67-833062133E91}"/>
          </ac:picMkLst>
        </pc:picChg>
        <pc:picChg chg="del">
          <ac:chgData name="Mitchell Logan" userId="dc7179b2-67a7-4bfc-9a9f-d0e660097d84" providerId="ADAL" clId="{A9409CCE-727A-422C-8E89-96E1B1A0B932}" dt="2024-01-18T13:12:59.108" v="892" actId="478"/>
          <ac:picMkLst>
            <pc:docMk/>
            <pc:sldMk cId="1931622370" sldId="1121"/>
            <ac:picMk id="6" creationId="{F44B65C7-8EFD-4285-9615-F94D0768DC79}"/>
          </ac:picMkLst>
        </pc:picChg>
      </pc:sldChg>
      <pc:sldChg chg="del addCm">
        <pc:chgData name="Mitchell Logan" userId="dc7179b2-67a7-4bfc-9a9f-d0e660097d84" providerId="ADAL" clId="{A9409CCE-727A-422C-8E89-96E1B1A0B932}" dt="2024-01-18T13:14:17.009" v="896" actId="47"/>
        <pc:sldMkLst>
          <pc:docMk/>
          <pc:sldMk cId="1521086992" sldId="1123"/>
        </pc:sldMkLst>
      </pc:sldChg>
      <pc:sldChg chg="addSp delSp modSp mod delCm">
        <pc:chgData name="Mitchell Logan" userId="dc7179b2-67a7-4bfc-9a9f-d0e660097d84" providerId="ADAL" clId="{A9409CCE-727A-422C-8E89-96E1B1A0B932}" dt="2024-01-19T15:12:02.554" v="1067"/>
        <pc:sldMkLst>
          <pc:docMk/>
          <pc:sldMk cId="1257590593" sldId="1124"/>
        </pc:sldMkLst>
        <pc:spChg chg="mod">
          <ac:chgData name="Mitchell Logan" userId="dc7179b2-67a7-4bfc-9a9f-d0e660097d84" providerId="ADAL" clId="{A9409CCE-727A-422C-8E89-96E1B1A0B932}" dt="2024-01-18T12:43:50.456" v="276" actId="20577"/>
          <ac:spMkLst>
            <pc:docMk/>
            <pc:sldMk cId="1257590593" sldId="1124"/>
            <ac:spMk id="2" creationId="{7D100F53-EA5F-4C26-A5E1-5AD1B180CC2B}"/>
          </ac:spMkLst>
        </pc:spChg>
        <pc:spChg chg="add mod">
          <ac:chgData name="Mitchell Logan" userId="dc7179b2-67a7-4bfc-9a9f-d0e660097d84" providerId="ADAL" clId="{A9409CCE-727A-422C-8E89-96E1B1A0B932}" dt="2024-01-18T12:54:25.067" v="408" actId="14100"/>
          <ac:spMkLst>
            <pc:docMk/>
            <pc:sldMk cId="1257590593" sldId="1124"/>
            <ac:spMk id="4" creationId="{D3C0A430-7788-CC1B-71E4-860D80043D45}"/>
          </ac:spMkLst>
        </pc:spChg>
        <pc:spChg chg="add del mod">
          <ac:chgData name="Mitchell Logan" userId="dc7179b2-67a7-4bfc-9a9f-d0e660097d84" providerId="ADAL" clId="{A9409CCE-727A-422C-8E89-96E1B1A0B932}" dt="2024-01-18T12:52:04.469" v="323"/>
          <ac:spMkLst>
            <pc:docMk/>
            <pc:sldMk cId="1257590593" sldId="1124"/>
            <ac:spMk id="5" creationId="{992496E3-BC7B-9A9E-BB5B-11108809F868}"/>
          </ac:spMkLst>
        </pc:spChg>
        <pc:spChg chg="del">
          <ac:chgData name="Mitchell Logan" userId="dc7179b2-67a7-4bfc-9a9f-d0e660097d84" providerId="ADAL" clId="{A9409CCE-727A-422C-8E89-96E1B1A0B932}" dt="2024-01-18T12:44:45.833" v="286" actId="478"/>
          <ac:spMkLst>
            <pc:docMk/>
            <pc:sldMk cId="1257590593" sldId="1124"/>
            <ac:spMk id="6" creationId="{989BEC7B-F907-4731-9E3D-8614E3A1ECB6}"/>
          </ac:spMkLst>
        </pc:spChg>
        <pc:spChg chg="del">
          <ac:chgData name="Mitchell Logan" userId="dc7179b2-67a7-4bfc-9a9f-d0e660097d84" providerId="ADAL" clId="{A9409CCE-727A-422C-8E89-96E1B1A0B932}" dt="2024-01-18T12:44:45.833" v="286" actId="478"/>
          <ac:spMkLst>
            <pc:docMk/>
            <pc:sldMk cId="1257590593" sldId="1124"/>
            <ac:spMk id="7" creationId="{D4ADED8F-6F47-4012-8843-62AAD4B3FB9D}"/>
          </ac:spMkLst>
        </pc:spChg>
        <pc:spChg chg="add del mod">
          <ac:chgData name="Mitchell Logan" userId="dc7179b2-67a7-4bfc-9a9f-d0e660097d84" providerId="ADAL" clId="{A9409CCE-727A-422C-8E89-96E1B1A0B932}" dt="2024-01-18T12:53:52.894" v="399" actId="478"/>
          <ac:spMkLst>
            <pc:docMk/>
            <pc:sldMk cId="1257590593" sldId="1124"/>
            <ac:spMk id="8" creationId="{E4F3FEAB-F389-93E9-22E2-0A04D43D074F}"/>
          </ac:spMkLst>
        </pc:spChg>
        <pc:spChg chg="add mod">
          <ac:chgData name="Mitchell Logan" userId="dc7179b2-67a7-4bfc-9a9f-d0e660097d84" providerId="ADAL" clId="{A9409CCE-727A-422C-8E89-96E1B1A0B932}" dt="2024-01-18T13:02:44.994" v="749" actId="1076"/>
          <ac:spMkLst>
            <pc:docMk/>
            <pc:sldMk cId="1257590593" sldId="1124"/>
            <ac:spMk id="9" creationId="{79FC9367-5589-163A-54B0-0A872CF6B95B}"/>
          </ac:spMkLst>
        </pc:spChg>
        <pc:spChg chg="del">
          <ac:chgData name="Mitchell Logan" userId="dc7179b2-67a7-4bfc-9a9f-d0e660097d84" providerId="ADAL" clId="{A9409CCE-727A-422C-8E89-96E1B1A0B932}" dt="2024-01-18T12:44:45.833" v="286" actId="478"/>
          <ac:spMkLst>
            <pc:docMk/>
            <pc:sldMk cId="1257590593" sldId="1124"/>
            <ac:spMk id="13" creationId="{0688DDB0-194D-415B-9980-1C8443E79347}"/>
          </ac:spMkLst>
        </pc:spChg>
        <pc:spChg chg="del">
          <ac:chgData name="Mitchell Logan" userId="dc7179b2-67a7-4bfc-9a9f-d0e660097d84" providerId="ADAL" clId="{A9409CCE-727A-422C-8E89-96E1B1A0B932}" dt="2024-01-18T12:44:45.833" v="286" actId="478"/>
          <ac:spMkLst>
            <pc:docMk/>
            <pc:sldMk cId="1257590593" sldId="1124"/>
            <ac:spMk id="14" creationId="{20115908-7BFB-4C31-A8DB-67D89D6AE86F}"/>
          </ac:spMkLst>
        </pc:spChg>
        <pc:spChg chg="del">
          <ac:chgData name="Mitchell Logan" userId="dc7179b2-67a7-4bfc-9a9f-d0e660097d84" providerId="ADAL" clId="{A9409CCE-727A-422C-8E89-96E1B1A0B932}" dt="2024-01-18T12:44:48.147" v="287" actId="478"/>
          <ac:spMkLst>
            <pc:docMk/>
            <pc:sldMk cId="1257590593" sldId="1124"/>
            <ac:spMk id="16" creationId="{FA272BC2-623B-4DF8-AD2A-6F410154D9B9}"/>
          </ac:spMkLst>
        </pc:spChg>
        <pc:spChg chg="del">
          <ac:chgData name="Mitchell Logan" userId="dc7179b2-67a7-4bfc-9a9f-d0e660097d84" providerId="ADAL" clId="{A9409CCE-727A-422C-8E89-96E1B1A0B932}" dt="2024-01-18T12:44:45.833" v="286" actId="478"/>
          <ac:spMkLst>
            <pc:docMk/>
            <pc:sldMk cId="1257590593" sldId="1124"/>
            <ac:spMk id="17" creationId="{5F490D81-6E38-4F58-8BBC-00C8CA868875}"/>
          </ac:spMkLst>
        </pc:spChg>
        <pc:spChg chg="del">
          <ac:chgData name="Mitchell Logan" userId="dc7179b2-67a7-4bfc-9a9f-d0e660097d84" providerId="ADAL" clId="{A9409CCE-727A-422C-8E89-96E1B1A0B932}" dt="2024-01-18T12:44:45.833" v="286" actId="478"/>
          <ac:spMkLst>
            <pc:docMk/>
            <pc:sldMk cId="1257590593" sldId="1124"/>
            <ac:spMk id="18" creationId="{B2445F2A-B20E-4176-AC52-5E144D829F68}"/>
          </ac:spMkLst>
        </pc:spChg>
        <pc:spChg chg="del mod">
          <ac:chgData name="Mitchell Logan" userId="dc7179b2-67a7-4bfc-9a9f-d0e660097d84" providerId="ADAL" clId="{A9409CCE-727A-422C-8E89-96E1B1A0B932}" dt="2024-01-18T12:44:45.833" v="286" actId="478"/>
          <ac:spMkLst>
            <pc:docMk/>
            <pc:sldMk cId="1257590593" sldId="1124"/>
            <ac:spMk id="19" creationId="{5B92B9E1-DC3A-460A-8516-E1D674FEF0B4}"/>
          </ac:spMkLst>
        </pc:spChg>
        <pc:spChg chg="del">
          <ac:chgData name="Mitchell Logan" userId="dc7179b2-67a7-4bfc-9a9f-d0e660097d84" providerId="ADAL" clId="{A9409CCE-727A-422C-8E89-96E1B1A0B932}" dt="2024-01-18T12:44:45.833" v="286" actId="478"/>
          <ac:spMkLst>
            <pc:docMk/>
            <pc:sldMk cId="1257590593" sldId="1124"/>
            <ac:spMk id="21" creationId="{7E543AF4-030B-49A8-A4F9-E71FA355ADDD}"/>
          </ac:spMkLst>
        </pc:spChg>
        <pc:spChg chg="del">
          <ac:chgData name="Mitchell Logan" userId="dc7179b2-67a7-4bfc-9a9f-d0e660097d84" providerId="ADAL" clId="{A9409CCE-727A-422C-8E89-96E1B1A0B932}" dt="2024-01-18T12:44:45.833" v="286" actId="478"/>
          <ac:spMkLst>
            <pc:docMk/>
            <pc:sldMk cId="1257590593" sldId="1124"/>
            <ac:spMk id="22" creationId="{32C005E6-F2D4-4887-9C6F-2444B1CA4248}"/>
          </ac:spMkLst>
        </pc:spChg>
        <pc:spChg chg="del">
          <ac:chgData name="Mitchell Logan" userId="dc7179b2-67a7-4bfc-9a9f-d0e660097d84" providerId="ADAL" clId="{A9409CCE-727A-422C-8E89-96E1B1A0B932}" dt="2024-01-18T12:44:45.833" v="286" actId="478"/>
          <ac:spMkLst>
            <pc:docMk/>
            <pc:sldMk cId="1257590593" sldId="1124"/>
            <ac:spMk id="23" creationId="{20787915-57C6-4B59-B942-28ABD1CC06BC}"/>
          </ac:spMkLst>
        </pc:spChg>
        <pc:spChg chg="del">
          <ac:chgData name="Mitchell Logan" userId="dc7179b2-67a7-4bfc-9a9f-d0e660097d84" providerId="ADAL" clId="{A9409CCE-727A-422C-8E89-96E1B1A0B932}" dt="2024-01-18T12:44:45.833" v="286" actId="478"/>
          <ac:spMkLst>
            <pc:docMk/>
            <pc:sldMk cId="1257590593" sldId="1124"/>
            <ac:spMk id="27" creationId="{D6621483-8F19-4366-A032-3A3E27541EDC}"/>
          </ac:spMkLst>
        </pc:spChg>
        <pc:spChg chg="del">
          <ac:chgData name="Mitchell Logan" userId="dc7179b2-67a7-4bfc-9a9f-d0e660097d84" providerId="ADAL" clId="{A9409CCE-727A-422C-8E89-96E1B1A0B932}" dt="2024-01-18T12:44:48.147" v="287" actId="478"/>
          <ac:spMkLst>
            <pc:docMk/>
            <pc:sldMk cId="1257590593" sldId="1124"/>
            <ac:spMk id="29" creationId="{75864423-E7A2-4CFE-9078-B0805DA6B935}"/>
          </ac:spMkLst>
        </pc:spChg>
        <pc:spChg chg="del">
          <ac:chgData name="Mitchell Logan" userId="dc7179b2-67a7-4bfc-9a9f-d0e660097d84" providerId="ADAL" clId="{A9409CCE-727A-422C-8E89-96E1B1A0B932}" dt="2024-01-18T12:44:45.833" v="286" actId="478"/>
          <ac:spMkLst>
            <pc:docMk/>
            <pc:sldMk cId="1257590593" sldId="1124"/>
            <ac:spMk id="31" creationId="{60C15BC3-CAF7-4196-9006-3961B131EBC2}"/>
          </ac:spMkLst>
        </pc:spChg>
        <pc:spChg chg="del">
          <ac:chgData name="Mitchell Logan" userId="dc7179b2-67a7-4bfc-9a9f-d0e660097d84" providerId="ADAL" clId="{A9409CCE-727A-422C-8E89-96E1B1A0B932}" dt="2024-01-18T12:44:45.833" v="286" actId="478"/>
          <ac:spMkLst>
            <pc:docMk/>
            <pc:sldMk cId="1257590593" sldId="1124"/>
            <ac:spMk id="32" creationId="{5B9ED980-6AEF-4A57-B8ED-CDD8673482D8}"/>
          </ac:spMkLst>
        </pc:spChg>
        <pc:spChg chg="del">
          <ac:chgData name="Mitchell Logan" userId="dc7179b2-67a7-4bfc-9a9f-d0e660097d84" providerId="ADAL" clId="{A9409CCE-727A-422C-8E89-96E1B1A0B932}" dt="2024-01-18T12:44:45.833" v="286" actId="478"/>
          <ac:spMkLst>
            <pc:docMk/>
            <pc:sldMk cId="1257590593" sldId="1124"/>
            <ac:spMk id="35" creationId="{DA2BC948-2AEC-43B6-B173-5372197FE9C1}"/>
          </ac:spMkLst>
        </pc:spChg>
        <pc:picChg chg="del">
          <ac:chgData name="Mitchell Logan" userId="dc7179b2-67a7-4bfc-9a9f-d0e660097d84" providerId="ADAL" clId="{A9409CCE-727A-422C-8E89-96E1B1A0B932}" dt="2024-01-18T12:44:01.850" v="277" actId="478"/>
          <ac:picMkLst>
            <pc:docMk/>
            <pc:sldMk cId="1257590593" sldId="1124"/>
            <ac:picMk id="11" creationId="{9110A77C-EAFB-4312-A827-56E973746E72}"/>
          </ac:picMkLst>
        </pc:picChg>
        <pc:picChg chg="del">
          <ac:chgData name="Mitchell Logan" userId="dc7179b2-67a7-4bfc-9a9f-d0e660097d84" providerId="ADAL" clId="{A9409CCE-727A-422C-8E89-96E1B1A0B932}" dt="2024-01-18T12:44:03.573" v="278" actId="478"/>
          <ac:picMkLst>
            <pc:docMk/>
            <pc:sldMk cId="1257590593" sldId="1124"/>
            <ac:picMk id="12" creationId="{EE08374E-1DA9-40B8-A7FC-B0BE50889C48}"/>
          </ac:picMkLst>
        </pc:picChg>
        <pc:picChg chg="add mod">
          <ac:chgData name="Mitchell Logan" userId="dc7179b2-67a7-4bfc-9a9f-d0e660097d84" providerId="ADAL" clId="{A9409CCE-727A-422C-8E89-96E1B1A0B932}" dt="2024-01-18T12:45:18.640" v="290" actId="1076"/>
          <ac:picMkLst>
            <pc:docMk/>
            <pc:sldMk cId="1257590593" sldId="1124"/>
            <ac:picMk id="1026" creationId="{C161960E-3B48-4B72-0903-C66835AA5CE4}"/>
          </ac:picMkLst>
        </pc:picChg>
        <pc:cxnChg chg="del">
          <ac:chgData name="Mitchell Logan" userId="dc7179b2-67a7-4bfc-9a9f-d0e660097d84" providerId="ADAL" clId="{A9409CCE-727A-422C-8E89-96E1B1A0B932}" dt="2024-01-18T12:44:15.505" v="279" actId="478"/>
          <ac:cxnSpMkLst>
            <pc:docMk/>
            <pc:sldMk cId="1257590593" sldId="1124"/>
            <ac:cxnSpMk id="26" creationId="{83652BBD-8F57-468C-90DC-63FC91F3715E}"/>
          </ac:cxnSpMkLst>
        </pc:cxnChg>
        <pc:cxnChg chg="del">
          <ac:chgData name="Mitchell Logan" userId="dc7179b2-67a7-4bfc-9a9f-d0e660097d84" providerId="ADAL" clId="{A9409CCE-727A-422C-8E89-96E1B1A0B932}" dt="2024-01-18T12:44:45.833" v="286" actId="478"/>
          <ac:cxnSpMkLst>
            <pc:docMk/>
            <pc:sldMk cId="1257590593" sldId="1124"/>
            <ac:cxnSpMk id="34" creationId="{44BA2A3B-08A3-4278-B1A4-4EAD8C56AF6E}"/>
          </ac:cxnSpMkLst>
        </pc:cxn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Mitchell Logan" userId="dc7179b2-67a7-4bfc-9a9f-d0e660097d84" providerId="ADAL" clId="{A9409CCE-727A-422C-8E89-96E1B1A0B932}" dt="2024-01-19T15:12:02.554" v="1067"/>
              <pc2:cmMkLst xmlns:pc2="http://schemas.microsoft.com/office/powerpoint/2019/9/main/command">
                <pc:docMk/>
                <pc:sldMk cId="1257590593" sldId="1124"/>
                <pc2:cmMk id="{8CD91622-A08C-45A1-AF1E-8B3AA2BC0FAC}"/>
              </pc2:cmMkLst>
            </pc226:cmChg>
          </p:ext>
        </pc:extLst>
      </pc:sldChg>
      <pc:sldChg chg="delSp modSp mod">
        <pc:chgData name="Mitchell Logan" userId="dc7179b2-67a7-4bfc-9a9f-d0e660097d84" providerId="ADAL" clId="{A9409CCE-727A-422C-8E89-96E1B1A0B932}" dt="2024-01-18T13:15:45.101" v="902" actId="1076"/>
        <pc:sldMkLst>
          <pc:docMk/>
          <pc:sldMk cId="1977412846" sldId="1127"/>
        </pc:sldMkLst>
        <pc:picChg chg="mod">
          <ac:chgData name="Mitchell Logan" userId="dc7179b2-67a7-4bfc-9a9f-d0e660097d84" providerId="ADAL" clId="{A9409CCE-727A-422C-8E89-96E1B1A0B932}" dt="2024-01-18T13:15:39.358" v="899" actId="1076"/>
          <ac:picMkLst>
            <pc:docMk/>
            <pc:sldMk cId="1977412846" sldId="1127"/>
            <ac:picMk id="2" creationId="{D506947D-9096-7E75-9EA3-69C9BFA924DB}"/>
          </ac:picMkLst>
        </pc:picChg>
        <pc:picChg chg="mod">
          <ac:chgData name="Mitchell Logan" userId="dc7179b2-67a7-4bfc-9a9f-d0e660097d84" providerId="ADAL" clId="{A9409CCE-727A-422C-8E89-96E1B1A0B932}" dt="2024-01-18T13:15:45.101" v="902" actId="1076"/>
          <ac:picMkLst>
            <pc:docMk/>
            <pc:sldMk cId="1977412846" sldId="1127"/>
            <ac:picMk id="3" creationId="{C41426C9-C814-47D1-D0D7-E03DDC34D48D}"/>
          </ac:picMkLst>
        </pc:picChg>
        <pc:picChg chg="del">
          <ac:chgData name="Mitchell Logan" userId="dc7179b2-67a7-4bfc-9a9f-d0e660097d84" providerId="ADAL" clId="{A9409CCE-727A-422C-8E89-96E1B1A0B932}" dt="2024-01-18T13:15:32.220" v="897" actId="478"/>
          <ac:picMkLst>
            <pc:docMk/>
            <pc:sldMk cId="1977412846" sldId="1127"/>
            <ac:picMk id="9222" creationId="{825F1CD9-1F46-4231-A852-B60EAB1F4BB3}"/>
          </ac:picMkLst>
        </pc:picChg>
        <pc:picChg chg="mod">
          <ac:chgData name="Mitchell Logan" userId="dc7179b2-67a7-4bfc-9a9f-d0e660097d84" providerId="ADAL" clId="{A9409CCE-727A-422C-8E89-96E1B1A0B932}" dt="2024-01-18T13:15:35.855" v="898" actId="1076"/>
          <ac:picMkLst>
            <pc:docMk/>
            <pc:sldMk cId="1977412846" sldId="1127"/>
            <ac:picMk id="9224" creationId="{F99C2471-EBB2-4439-8413-B1BC9A88F42D}"/>
          </ac:picMkLst>
        </pc:picChg>
        <pc:picChg chg="mod">
          <ac:chgData name="Mitchell Logan" userId="dc7179b2-67a7-4bfc-9a9f-d0e660097d84" providerId="ADAL" clId="{A9409CCE-727A-422C-8E89-96E1B1A0B932}" dt="2024-01-18T13:15:41.165" v="900" actId="1076"/>
          <ac:picMkLst>
            <pc:docMk/>
            <pc:sldMk cId="1977412846" sldId="1127"/>
            <ac:picMk id="9226" creationId="{6B63DD2F-A1F2-403F-83F8-0F1FA3E1D927}"/>
          </ac:picMkLst>
        </pc:picChg>
        <pc:picChg chg="mod">
          <ac:chgData name="Mitchell Logan" userId="dc7179b2-67a7-4bfc-9a9f-d0e660097d84" providerId="ADAL" clId="{A9409CCE-727A-422C-8E89-96E1B1A0B932}" dt="2024-01-18T13:15:43.170" v="901" actId="1076"/>
          <ac:picMkLst>
            <pc:docMk/>
            <pc:sldMk cId="1977412846" sldId="1127"/>
            <ac:picMk id="9228" creationId="{90659887-295A-481C-9DD6-EDB1DD856AD9}"/>
          </ac:picMkLst>
        </pc:picChg>
      </pc:sldChg>
      <pc:sldChg chg="addCm delCm">
        <pc:chgData name="Mitchell Logan" userId="dc7179b2-67a7-4bfc-9a9f-d0e660097d84" providerId="ADAL" clId="{A9409CCE-727A-422C-8E89-96E1B1A0B932}" dt="2024-01-02T18:46:37.037" v="255"/>
        <pc:sldMkLst>
          <pc:docMk/>
          <pc:sldMk cId="3761700363" sldId="1128"/>
        </pc:sldMkLst>
      </pc:sldChg>
      <pc:sldChg chg="addSp delSp modSp mod addCm delCm modCm">
        <pc:chgData name="Mitchell Logan" userId="dc7179b2-67a7-4bfc-9a9f-d0e660097d84" providerId="ADAL" clId="{A9409CCE-727A-422C-8E89-96E1B1A0B932}" dt="2024-01-19T15:21:16.033" v="1274"/>
        <pc:sldMkLst>
          <pc:docMk/>
          <pc:sldMk cId="1263885223" sldId="1133"/>
        </pc:sldMkLst>
        <pc:spChg chg="mod">
          <ac:chgData name="Mitchell Logan" userId="dc7179b2-67a7-4bfc-9a9f-d0e660097d84" providerId="ADAL" clId="{A9409CCE-727A-422C-8E89-96E1B1A0B932}" dt="2024-01-19T15:21:00.881" v="1273" actId="5793"/>
          <ac:spMkLst>
            <pc:docMk/>
            <pc:sldMk cId="1263885223" sldId="1133"/>
            <ac:spMk id="2" creationId="{00000000-0000-0000-0000-000000000000}"/>
          </ac:spMkLst>
        </pc:spChg>
        <pc:spChg chg="mod">
          <ac:chgData name="Mitchell Logan" userId="dc7179b2-67a7-4bfc-9a9f-d0e660097d84" providerId="ADAL" clId="{A9409CCE-727A-422C-8E89-96E1B1A0B932}" dt="2024-01-19T15:18:44.949" v="1232" actId="1076"/>
          <ac:spMkLst>
            <pc:docMk/>
            <pc:sldMk cId="1263885223" sldId="1133"/>
            <ac:spMk id="3" creationId="{A3B872A7-F735-4C23-9D2E-E731B8406F9B}"/>
          </ac:spMkLst>
        </pc:spChg>
        <pc:spChg chg="mod">
          <ac:chgData name="Mitchell Logan" userId="dc7179b2-67a7-4bfc-9a9f-d0e660097d84" providerId="ADAL" clId="{A9409CCE-727A-422C-8E89-96E1B1A0B932}" dt="2024-01-19T15:18:44.949" v="1232" actId="1076"/>
          <ac:spMkLst>
            <pc:docMk/>
            <pc:sldMk cId="1263885223" sldId="1133"/>
            <ac:spMk id="5" creationId="{EED36670-D698-478F-9746-D6834663D732}"/>
          </ac:spMkLst>
        </pc:spChg>
        <pc:spChg chg="add del mod">
          <ac:chgData name="Mitchell Logan" userId="dc7179b2-67a7-4bfc-9a9f-d0e660097d84" providerId="ADAL" clId="{A9409CCE-727A-422C-8E89-96E1B1A0B932}" dt="2024-01-19T15:18:20.967" v="1227"/>
          <ac:spMkLst>
            <pc:docMk/>
            <pc:sldMk cId="1263885223" sldId="1133"/>
            <ac:spMk id="6" creationId="{AD1118A6-1878-94DB-6B65-0CF5A88A9F69}"/>
          </ac:spMkLst>
        </pc:spChg>
        <pc:spChg chg="del">
          <ac:chgData name="Mitchell Logan" userId="dc7179b2-67a7-4bfc-9a9f-d0e660097d84" providerId="ADAL" clId="{A9409CCE-727A-422C-8E89-96E1B1A0B932}" dt="2024-01-19T15:17:19.731" v="1189" actId="478"/>
          <ac:spMkLst>
            <pc:docMk/>
            <pc:sldMk cId="1263885223" sldId="1133"/>
            <ac:spMk id="7" creationId="{00000000-0000-0000-0000-000000000000}"/>
          </ac:spMkLst>
        </pc:spChg>
        <pc:spChg chg="add del mod">
          <ac:chgData name="Mitchell Logan" userId="dc7179b2-67a7-4bfc-9a9f-d0e660097d84" providerId="ADAL" clId="{A9409CCE-727A-422C-8E89-96E1B1A0B932}" dt="2024-01-19T15:18:20.967" v="1227"/>
          <ac:spMkLst>
            <pc:docMk/>
            <pc:sldMk cId="1263885223" sldId="1133"/>
            <ac:spMk id="8" creationId="{EDBE1C97-6C6A-0E81-C0AD-2144EAB5CE21}"/>
          </ac:spMkLst>
        </pc:spChg>
        <pc:spChg chg="add del mod">
          <ac:chgData name="Mitchell Logan" userId="dc7179b2-67a7-4bfc-9a9f-d0e660097d84" providerId="ADAL" clId="{A9409CCE-727A-422C-8E89-96E1B1A0B932}" dt="2024-01-19T15:18:20.967" v="1227"/>
          <ac:spMkLst>
            <pc:docMk/>
            <pc:sldMk cId="1263885223" sldId="1133"/>
            <ac:spMk id="9" creationId="{F301F6E7-3262-038F-B84D-E4BDCBC1C974}"/>
          </ac:spMkLst>
        </pc:spChg>
        <pc:spChg chg="add del mod">
          <ac:chgData name="Mitchell Logan" userId="dc7179b2-67a7-4bfc-9a9f-d0e660097d84" providerId="ADAL" clId="{A9409CCE-727A-422C-8E89-96E1B1A0B932}" dt="2024-01-19T15:18:57.530" v="1234"/>
          <ac:spMkLst>
            <pc:docMk/>
            <pc:sldMk cId="1263885223" sldId="1133"/>
            <ac:spMk id="10" creationId="{AD878CAD-93D3-153E-ADEE-02255F5095B2}"/>
          </ac:spMkLst>
        </pc:spChg>
        <pc:spChg chg="del">
          <ac:chgData name="Mitchell Logan" userId="dc7179b2-67a7-4bfc-9a9f-d0e660097d84" providerId="ADAL" clId="{A9409CCE-727A-422C-8E89-96E1B1A0B932}" dt="2024-01-19T15:17:19.731" v="1189" actId="478"/>
          <ac:spMkLst>
            <pc:docMk/>
            <pc:sldMk cId="1263885223" sldId="1133"/>
            <ac:spMk id="11" creationId="{00000000-0000-0000-0000-000000000000}"/>
          </ac:spMkLst>
        </pc:spChg>
        <pc:spChg chg="del">
          <ac:chgData name="Mitchell Logan" userId="dc7179b2-67a7-4bfc-9a9f-d0e660097d84" providerId="ADAL" clId="{A9409CCE-727A-422C-8E89-96E1B1A0B932}" dt="2024-01-19T15:17:19.731" v="1189" actId="478"/>
          <ac:spMkLst>
            <pc:docMk/>
            <pc:sldMk cId="1263885223" sldId="1133"/>
            <ac:spMk id="12" creationId="{00000000-0000-0000-0000-000000000000}"/>
          </ac:spMkLst>
        </pc:spChg>
        <pc:spChg chg="del">
          <ac:chgData name="Mitchell Logan" userId="dc7179b2-67a7-4bfc-9a9f-d0e660097d84" providerId="ADAL" clId="{A9409CCE-727A-422C-8E89-96E1B1A0B932}" dt="2024-01-19T15:17:19.731" v="1189" actId="478"/>
          <ac:spMkLst>
            <pc:docMk/>
            <pc:sldMk cId="1263885223" sldId="1133"/>
            <ac:spMk id="13" creationId="{00000000-0000-0000-0000-000000000000}"/>
          </ac:spMkLst>
        </pc:spChg>
        <pc:spChg chg="del">
          <ac:chgData name="Mitchell Logan" userId="dc7179b2-67a7-4bfc-9a9f-d0e660097d84" providerId="ADAL" clId="{A9409CCE-727A-422C-8E89-96E1B1A0B932}" dt="2024-01-19T15:17:19.731" v="1189" actId="478"/>
          <ac:spMkLst>
            <pc:docMk/>
            <pc:sldMk cId="1263885223" sldId="1133"/>
            <ac:spMk id="14" creationId="{00000000-0000-0000-0000-000000000000}"/>
          </ac:spMkLst>
        </pc:spChg>
        <pc:spChg chg="add mod">
          <ac:chgData name="Mitchell Logan" userId="dc7179b2-67a7-4bfc-9a9f-d0e660097d84" providerId="ADAL" clId="{A9409CCE-727A-422C-8E89-96E1B1A0B932}" dt="2024-01-19T15:19:06.706" v="1237" actId="14100"/>
          <ac:spMkLst>
            <pc:docMk/>
            <pc:sldMk cId="1263885223" sldId="1133"/>
            <ac:spMk id="15" creationId="{66835339-4D57-E7EF-A4A9-196D9C55213E}"/>
          </ac:spMkLst>
        </pc:spChg>
        <pc:spChg chg="add mod">
          <ac:chgData name="Mitchell Logan" userId="dc7179b2-67a7-4bfc-9a9f-d0e660097d84" providerId="ADAL" clId="{A9409CCE-727A-422C-8E89-96E1B1A0B932}" dt="2024-01-19T15:20:29.100" v="1255" actId="255"/>
          <ac:spMkLst>
            <pc:docMk/>
            <pc:sldMk cId="1263885223" sldId="1133"/>
            <ac:spMk id="25" creationId="{C42CB5F3-2D31-BD5C-D636-B37D95BDD7A3}"/>
          </ac:spMkLst>
        </pc:spChg>
        <pc:spChg chg="add mod">
          <ac:chgData name="Mitchell Logan" userId="dc7179b2-67a7-4bfc-9a9f-d0e660097d84" providerId="ADAL" clId="{A9409CCE-727A-422C-8E89-96E1B1A0B932}" dt="2024-01-19T15:20:49.325" v="1257" actId="1076"/>
          <ac:spMkLst>
            <pc:docMk/>
            <pc:sldMk cId="1263885223" sldId="1133"/>
            <ac:spMk id="26" creationId="{FDD33E5A-05E9-533D-2B57-F7780B347266}"/>
          </ac:spMkLst>
        </pc:spChg>
        <pc:spChg chg="del">
          <ac:chgData name="Mitchell Logan" userId="dc7179b2-67a7-4bfc-9a9f-d0e660097d84" providerId="ADAL" clId="{A9409CCE-727A-422C-8E89-96E1B1A0B932}" dt="2024-01-19T15:17:19.731" v="1189" actId="478"/>
          <ac:spMkLst>
            <pc:docMk/>
            <pc:sldMk cId="1263885223" sldId="1133"/>
            <ac:spMk id="34" creationId="{3EFEB04B-07E2-446F-B157-438420857CC2}"/>
          </ac:spMkLst>
        </pc:spChg>
        <pc:spChg chg="del">
          <ac:chgData name="Mitchell Logan" userId="dc7179b2-67a7-4bfc-9a9f-d0e660097d84" providerId="ADAL" clId="{A9409CCE-727A-422C-8E89-96E1B1A0B932}" dt="2024-01-19T15:17:21.550" v="1191" actId="478"/>
          <ac:spMkLst>
            <pc:docMk/>
            <pc:sldMk cId="1263885223" sldId="1133"/>
            <ac:spMk id="35" creationId="{1DAF7412-EFA8-4D44-9025-25FF1695716B}"/>
          </ac:spMkLst>
        </pc:spChg>
        <pc:graphicFrameChg chg="mod">
          <ac:chgData name="Mitchell Logan" userId="dc7179b2-67a7-4bfc-9a9f-d0e660097d84" providerId="ADAL" clId="{A9409CCE-727A-422C-8E89-96E1B1A0B932}" dt="2024-01-19T15:18:44.949" v="1232" actId="1076"/>
          <ac:graphicFrameMkLst>
            <pc:docMk/>
            <pc:sldMk cId="1263885223" sldId="1133"/>
            <ac:graphicFrameMk id="17" creationId="{B2745903-6944-492B-BBF4-6989DE0AE3ED}"/>
          </ac:graphicFrameMkLst>
        </pc:graphicFrameChg>
        <pc:graphicFrameChg chg="del">
          <ac:chgData name="Mitchell Logan" userId="dc7179b2-67a7-4bfc-9a9f-d0e660097d84" providerId="ADAL" clId="{A9409CCE-727A-422C-8E89-96E1B1A0B932}" dt="2024-01-19T15:17:19.731" v="1189" actId="478"/>
          <ac:graphicFrameMkLst>
            <pc:docMk/>
            <pc:sldMk cId="1263885223" sldId="1133"/>
            <ac:graphicFrameMk id="22" creationId="{9526782F-3AB4-4091-A325-BFBE584588E6}"/>
          </ac:graphicFrameMkLst>
        </pc:graphicFrameChg>
        <pc:picChg chg="del">
          <ac:chgData name="Mitchell Logan" userId="dc7179b2-67a7-4bfc-9a9f-d0e660097d84" providerId="ADAL" clId="{A9409CCE-727A-422C-8E89-96E1B1A0B932}" dt="2024-01-19T15:17:19.731" v="1189" actId="478"/>
          <ac:picMkLst>
            <pc:docMk/>
            <pc:sldMk cId="1263885223" sldId="1133"/>
            <ac:picMk id="16" creationId="{00000000-0000-0000-0000-000000000000}"/>
          </ac:picMkLst>
        </pc:picChg>
        <pc:picChg chg="del">
          <ac:chgData name="Mitchell Logan" userId="dc7179b2-67a7-4bfc-9a9f-d0e660097d84" providerId="ADAL" clId="{A9409CCE-727A-422C-8E89-96E1B1A0B932}" dt="2024-01-19T15:17:19.731" v="1189" actId="478"/>
          <ac:picMkLst>
            <pc:docMk/>
            <pc:sldMk cId="1263885223" sldId="1133"/>
            <ac:picMk id="18" creationId="{00000000-0000-0000-0000-000000000000}"/>
          </ac:picMkLst>
        </pc:picChg>
        <pc:picChg chg="del">
          <ac:chgData name="Mitchell Logan" userId="dc7179b2-67a7-4bfc-9a9f-d0e660097d84" providerId="ADAL" clId="{A9409CCE-727A-422C-8E89-96E1B1A0B932}" dt="2024-01-19T15:17:19.731" v="1189" actId="478"/>
          <ac:picMkLst>
            <pc:docMk/>
            <pc:sldMk cId="1263885223" sldId="1133"/>
            <ac:picMk id="19" creationId="{00000000-0000-0000-0000-000000000000}"/>
          </ac:picMkLst>
        </pc:picChg>
        <pc:picChg chg="del">
          <ac:chgData name="Mitchell Logan" userId="dc7179b2-67a7-4bfc-9a9f-d0e660097d84" providerId="ADAL" clId="{A9409CCE-727A-422C-8E89-96E1B1A0B932}" dt="2024-01-19T15:17:19.731" v="1189" actId="478"/>
          <ac:picMkLst>
            <pc:docMk/>
            <pc:sldMk cId="1263885223" sldId="1133"/>
            <ac:picMk id="20" creationId="{00000000-0000-0000-0000-000000000000}"/>
          </ac:picMkLst>
        </pc:picChg>
        <pc:picChg chg="del">
          <ac:chgData name="Mitchell Logan" userId="dc7179b2-67a7-4bfc-9a9f-d0e660097d84" providerId="ADAL" clId="{A9409CCE-727A-422C-8E89-96E1B1A0B932}" dt="2024-01-19T15:17:19.731" v="1189" actId="478"/>
          <ac:picMkLst>
            <pc:docMk/>
            <pc:sldMk cId="1263885223" sldId="1133"/>
            <ac:picMk id="21" creationId="{00000000-0000-0000-0000-000000000000}"/>
          </ac:picMkLst>
        </pc:picChg>
        <pc:picChg chg="add del mod">
          <ac:chgData name="Mitchell Logan" userId="dc7179b2-67a7-4bfc-9a9f-d0e660097d84" providerId="ADAL" clId="{A9409CCE-727A-422C-8E89-96E1B1A0B932}" dt="2024-01-19T15:19:23.624" v="1241"/>
          <ac:picMkLst>
            <pc:docMk/>
            <pc:sldMk cId="1263885223" sldId="1133"/>
            <ac:picMk id="23" creationId="{873CC843-DEDA-1E85-0B42-88CAB0D585C3}"/>
          </ac:picMkLst>
        </pc:picChg>
        <pc:picChg chg="add mod">
          <ac:chgData name="Mitchell Logan" userId="dc7179b2-67a7-4bfc-9a9f-d0e660097d84" providerId="ADAL" clId="{A9409CCE-727A-422C-8E89-96E1B1A0B932}" dt="2024-01-19T15:20:05.253" v="1250" actId="1076"/>
          <ac:picMkLst>
            <pc:docMk/>
            <pc:sldMk cId="1263885223" sldId="1133"/>
            <ac:picMk id="24" creationId="{6D9E242F-F552-29D1-CCDC-377E2F34506C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 del mod">
              <pc226:chgData name="Mitchell Logan" userId="dc7179b2-67a7-4bfc-9a9f-d0e660097d84" providerId="ADAL" clId="{A9409CCE-727A-422C-8E89-96E1B1A0B932}" dt="2024-01-19T15:21:16.033" v="1274"/>
              <pc2:cmMkLst xmlns:pc2="http://schemas.microsoft.com/office/powerpoint/2019/9/main/command">
                <pc:docMk/>
                <pc:sldMk cId="1263885223" sldId="1133"/>
                <pc2:cmMk id="{09E96B73-83DE-45F0-85CC-9008857C4E3C}"/>
              </pc2:cmMkLst>
            </pc226:cmChg>
          </p:ext>
        </pc:extLst>
      </pc:sldChg>
      <pc:sldChg chg="modSp del mod">
        <pc:chgData name="Mitchell Logan" userId="dc7179b2-67a7-4bfc-9a9f-d0e660097d84" providerId="ADAL" clId="{A9409CCE-727A-422C-8E89-96E1B1A0B932}" dt="2024-01-18T13:42:46.516" v="1066" actId="47"/>
        <pc:sldMkLst>
          <pc:docMk/>
          <pc:sldMk cId="462513436" sldId="1134"/>
        </pc:sldMkLst>
        <pc:spChg chg="mod">
          <ac:chgData name="Mitchell Logan" userId="dc7179b2-67a7-4bfc-9a9f-d0e660097d84" providerId="ADAL" clId="{A9409CCE-727A-422C-8E89-96E1B1A0B932}" dt="2024-01-02T18:43:18.581" v="253" actId="1076"/>
          <ac:spMkLst>
            <pc:docMk/>
            <pc:sldMk cId="462513436" sldId="1134"/>
            <ac:spMk id="133" creationId="{BBC146B0-B9E5-49D5-8F70-FC4461980651}"/>
          </ac:spMkLst>
        </pc:spChg>
      </pc:sldChg>
      <pc:sldChg chg="del">
        <pc:chgData name="Mitchell Logan" userId="dc7179b2-67a7-4bfc-9a9f-d0e660097d84" providerId="ADAL" clId="{A9409CCE-727A-422C-8E89-96E1B1A0B932}" dt="2024-01-18T13:42:29.452" v="1065" actId="47"/>
        <pc:sldMkLst>
          <pc:docMk/>
          <pc:sldMk cId="2728992248" sldId="1136"/>
        </pc:sldMkLst>
      </pc:sldChg>
      <pc:sldChg chg="new del">
        <pc:chgData name="Mitchell Logan" userId="dc7179b2-67a7-4bfc-9a9f-d0e660097d84" providerId="ADAL" clId="{A9409CCE-727A-422C-8E89-96E1B1A0B932}" dt="2024-01-02T18:08:30.956" v="222" actId="47"/>
        <pc:sldMkLst>
          <pc:docMk/>
          <pc:sldMk cId="941551053" sldId="1138"/>
        </pc:sldMkLst>
      </pc:sldChg>
      <pc:sldChg chg="modSp del mod">
        <pc:chgData name="Mitchell Logan" userId="dc7179b2-67a7-4bfc-9a9f-d0e660097d84" providerId="ADAL" clId="{A9409CCE-727A-422C-8E89-96E1B1A0B932}" dt="2024-01-18T13:25:07.616" v="940" actId="47"/>
        <pc:sldMkLst>
          <pc:docMk/>
          <pc:sldMk cId="3915419132" sldId="1138"/>
        </pc:sldMkLst>
        <pc:spChg chg="mod">
          <ac:chgData name="Mitchell Logan" userId="dc7179b2-67a7-4bfc-9a9f-d0e660097d84" providerId="ADAL" clId="{A9409CCE-727A-422C-8E89-96E1B1A0B932}" dt="2024-01-02T18:35:45.688" v="241" actId="20577"/>
          <ac:spMkLst>
            <pc:docMk/>
            <pc:sldMk cId="3915419132" sldId="1138"/>
            <ac:spMk id="2" creationId="{00000000-0000-0000-0000-000000000000}"/>
          </ac:spMkLst>
        </pc:spChg>
      </pc:sldChg>
      <pc:sldChg chg="add del mod modShow">
        <pc:chgData name="Mitchell Logan" userId="dc7179b2-67a7-4bfc-9a9f-d0e660097d84" providerId="ADAL" clId="{A9409CCE-727A-422C-8E89-96E1B1A0B932}" dt="2024-01-02T18:08:28.583" v="221" actId="47"/>
        <pc:sldMkLst>
          <pc:docMk/>
          <pc:sldMk cId="3369321239" sldId="1139"/>
        </pc:sldMkLst>
      </pc:sldChg>
    </pc:docChg>
  </pc:docChgLst>
</pc:chgInfo>
</file>

<file path=ppt/comments/modernComment_452_844AD55D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FFDBE45A-3A17-4C3D-A569-D7ABE152C455}" authorId="{EFE285FB-2343-B825-F576-340FF4859BC7}" created="2024-01-02T18:38:09.428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219496797" sldId="1106"/>
      <ac:spMk id="3" creationId="{00000000-0000-0000-0000-000000000000}"/>
      <ac:txMk cp="384" len="58">
        <ac:context len="702" hash="2905417832"/>
      </ac:txMk>
    </ac:txMkLst>
    <p188:pos x="7027408" y="2588114"/>
    <p188:replyLst>
      <p188:reply id="{55FE7E2B-C284-44A7-B874-D398EB380D46}" authorId="{D7E0D361-EA52-AD55-7A38-447751FD0614}" created="2024-01-19T20:07:33.795">
        <p188:txBody>
          <a:bodyPr/>
          <a:lstStyle/>
          <a:p>
            <a:r>
              <a:rPr lang="en-US"/>
              <a:t>This is an older process similar to DMAIC from lean six sigma that was not used. The Deloitte team used an altered process.</a:t>
            </a:r>
          </a:p>
        </p188:txBody>
      </p188:reply>
      <p188:reply id="{858C3B36-B93E-4042-9BA2-255896D3EAAC}" authorId="{D7E0D361-EA52-AD55-7A38-447751FD0614}" created="2024-01-19T20:12:31.100">
        <p188:txBody>
          <a:bodyPr/>
          <a:lstStyle/>
          <a:p>
            <a:r>
              <a:rPr lang="en-US"/>
              <a:t>https://novelis.sharepoint.com/:p:/r/sites/GlobalCitizenDataScientists/_layouts/15/Doc.aspx?sourcedoc=%7BBB88E7A8-9D11-4B9C-BCD7-4383CD160B0B%7D&amp;file=Evaluation_projects.pptx&amp;action=edit&amp;mobileredirect=true</a:t>
            </a:r>
          </a:p>
        </p188:txBody>
      </p188:reply>
      <p188:reply id="{C2119712-51AA-48D7-86B1-DD6F8124EFD3}" authorId="{D7E0D361-EA52-AD55-7A38-447751FD0614}" created="2024-01-19T20:13:44.056">
        <p188:txBody>
          <a:bodyPr/>
          <a:lstStyle/>
          <a:p>
            <a:r>
              <a:rPr lang="en-US"/>
              <a:t>We also used these for project charters: https://novelis.sharepoint.com/:p:/r/sites/GlobalCitizenDataScientists/_layouts/15/Doc.aspx?sourcedoc=%7BDAB90496-E238-4060-8C87-A2CCBC919BFD%7D&amp;file=Project%20Charter%20-%20NNA%20Example.pptx&amp;action=edit&amp;mobileredirect=true</a:t>
            </a:r>
          </a:p>
        </p188:txBody>
      </p188:reply>
    </p188:replyLst>
    <p188:txBody>
      <a:bodyPr/>
      <a:lstStyle/>
      <a:p>
        <a:r>
          <a:rPr lang="en-US"/>
          <a:t>[@Russell Krenek]  Do you know what this process is? </a:t>
        </a:r>
      </a:p>
    </p188:txBody>
  </p188:cm>
</p188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487A606-8AFD-4FC2-94A6-9E1900DD16AD}" type="doc">
      <dgm:prSet loTypeId="urn:microsoft.com/office/officeart/2005/8/layout/hProcess4" loCatId="process" qsTypeId="urn:microsoft.com/office/officeart/2005/8/quickstyle/simple1" qsCatId="simple" csTypeId="urn:microsoft.com/office/officeart/2005/8/colors/colorful2" csCatId="colorful" phldr="1"/>
      <dgm:spPr/>
    </dgm:pt>
    <dgm:pt modelId="{3D1B07AF-DA11-40C0-860B-E1F0391BB6DD}">
      <dgm:prSet phldrT="[Text]" custT="1"/>
      <dgm:spPr/>
      <dgm:t>
        <a:bodyPr/>
        <a:lstStyle/>
        <a:p>
          <a:r>
            <a:rPr lang="en-US" sz="1400"/>
            <a:t>Introduction</a:t>
          </a:r>
        </a:p>
      </dgm:t>
    </dgm:pt>
    <dgm:pt modelId="{1319C088-5574-4E69-AE53-DE1418455F00}" type="parTrans" cxnId="{5180A555-C90F-47DD-9F1D-40580BF69154}">
      <dgm:prSet/>
      <dgm:spPr/>
      <dgm:t>
        <a:bodyPr/>
        <a:lstStyle/>
        <a:p>
          <a:endParaRPr lang="en-US" sz="2000"/>
        </a:p>
      </dgm:t>
    </dgm:pt>
    <dgm:pt modelId="{344B00FD-E654-4A88-AF2E-838A3E4065CC}" type="sibTrans" cxnId="{5180A555-C90F-47DD-9F1D-40580BF69154}">
      <dgm:prSet/>
      <dgm:spPr/>
      <dgm:t>
        <a:bodyPr/>
        <a:lstStyle/>
        <a:p>
          <a:endParaRPr lang="en-US" sz="2000"/>
        </a:p>
      </dgm:t>
    </dgm:pt>
    <dgm:pt modelId="{E6016EAD-9B7E-4693-A7B6-CF66F7A6F69E}">
      <dgm:prSet phldrT="[Text]" custT="1"/>
      <dgm:spPr/>
      <dgm:t>
        <a:bodyPr/>
        <a:lstStyle/>
        <a:p>
          <a:r>
            <a:rPr lang="en-US" sz="1400"/>
            <a:t>Pre-work</a:t>
          </a:r>
        </a:p>
      </dgm:t>
    </dgm:pt>
    <dgm:pt modelId="{11C10CE6-87E8-4951-9E59-AB3EA98B1CF2}" type="parTrans" cxnId="{D5FFD685-41EA-4207-815E-23678B93EA42}">
      <dgm:prSet/>
      <dgm:spPr/>
      <dgm:t>
        <a:bodyPr/>
        <a:lstStyle/>
        <a:p>
          <a:endParaRPr lang="en-US" sz="2000"/>
        </a:p>
      </dgm:t>
    </dgm:pt>
    <dgm:pt modelId="{BEE9512B-4451-4E43-B0E3-FB8B7E8F6FA1}" type="sibTrans" cxnId="{D5FFD685-41EA-4207-815E-23678B93EA42}">
      <dgm:prSet/>
      <dgm:spPr/>
      <dgm:t>
        <a:bodyPr/>
        <a:lstStyle/>
        <a:p>
          <a:endParaRPr lang="en-US" sz="2000"/>
        </a:p>
      </dgm:t>
    </dgm:pt>
    <dgm:pt modelId="{7A9CB970-66E7-4C55-BF6F-9A28DB6ABC98}">
      <dgm:prSet phldrT="[Text]" custT="1"/>
      <dgm:spPr/>
      <dgm:t>
        <a:bodyPr/>
        <a:lstStyle/>
        <a:p>
          <a:r>
            <a:rPr lang="en-US" sz="1400"/>
            <a:t>Virtual Classroom</a:t>
          </a:r>
        </a:p>
      </dgm:t>
    </dgm:pt>
    <dgm:pt modelId="{9A8D1422-24BA-47A3-9E73-00B75DA9862F}" type="parTrans" cxnId="{0B588DC7-3F35-4D22-9095-BD24F450134E}">
      <dgm:prSet/>
      <dgm:spPr/>
      <dgm:t>
        <a:bodyPr/>
        <a:lstStyle/>
        <a:p>
          <a:endParaRPr lang="en-US" sz="2000"/>
        </a:p>
      </dgm:t>
    </dgm:pt>
    <dgm:pt modelId="{7FFD622D-C926-442D-95A8-2431690E2AB7}" type="sibTrans" cxnId="{0B588DC7-3F35-4D22-9095-BD24F450134E}">
      <dgm:prSet/>
      <dgm:spPr/>
      <dgm:t>
        <a:bodyPr/>
        <a:lstStyle/>
        <a:p>
          <a:endParaRPr lang="en-US" sz="2000"/>
        </a:p>
      </dgm:t>
    </dgm:pt>
    <dgm:pt modelId="{ABA9FE4B-48A9-489F-A3D3-31EB1731A7D0}">
      <dgm:prSet phldrT="[Text]" custT="1"/>
      <dgm:spPr/>
      <dgm:t>
        <a:bodyPr/>
        <a:lstStyle/>
        <a:p>
          <a:r>
            <a:rPr lang="en-US" sz="1400"/>
            <a:t>Project completion</a:t>
          </a:r>
        </a:p>
      </dgm:t>
    </dgm:pt>
    <dgm:pt modelId="{DAE1E1D7-FC3F-4C94-8F58-1A28BC966436}" type="parTrans" cxnId="{3C80167E-6135-4F62-B46E-647331ED92F3}">
      <dgm:prSet/>
      <dgm:spPr/>
      <dgm:t>
        <a:bodyPr/>
        <a:lstStyle/>
        <a:p>
          <a:endParaRPr lang="en-US" sz="2000"/>
        </a:p>
      </dgm:t>
    </dgm:pt>
    <dgm:pt modelId="{DE7C43C6-1DC0-425A-8AD6-60B6E09768CA}" type="sibTrans" cxnId="{3C80167E-6135-4F62-B46E-647331ED92F3}">
      <dgm:prSet/>
      <dgm:spPr/>
      <dgm:t>
        <a:bodyPr/>
        <a:lstStyle/>
        <a:p>
          <a:endParaRPr lang="en-US" sz="2000"/>
        </a:p>
      </dgm:t>
    </dgm:pt>
    <dgm:pt modelId="{4EF6582A-8D70-4CD3-AE77-DCD989890403}">
      <dgm:prSet custT="1"/>
      <dgm:spPr/>
      <dgm:t>
        <a:bodyPr/>
        <a:lstStyle/>
        <a:p>
          <a:r>
            <a:rPr lang="en-US" sz="1100" b="0" dirty="0"/>
            <a:t>Introduction</a:t>
          </a:r>
          <a:endParaRPr lang="en-US" sz="1100" dirty="0"/>
        </a:p>
      </dgm:t>
    </dgm:pt>
    <dgm:pt modelId="{00FB4CFF-9E1F-4699-A003-E6655BEFED03}" type="parTrans" cxnId="{91E4773A-3365-4AAF-A446-BB8C6A54685A}">
      <dgm:prSet/>
      <dgm:spPr/>
      <dgm:t>
        <a:bodyPr/>
        <a:lstStyle/>
        <a:p>
          <a:endParaRPr lang="en-US" sz="2000"/>
        </a:p>
      </dgm:t>
    </dgm:pt>
    <dgm:pt modelId="{A42D04DA-7A90-49C9-9182-A6CF19E5B061}" type="sibTrans" cxnId="{91E4773A-3365-4AAF-A446-BB8C6A54685A}">
      <dgm:prSet/>
      <dgm:spPr/>
      <dgm:t>
        <a:bodyPr/>
        <a:lstStyle/>
        <a:p>
          <a:endParaRPr lang="en-US" sz="2000"/>
        </a:p>
      </dgm:t>
    </dgm:pt>
    <dgm:pt modelId="{61C512CF-6EA1-41E1-8E26-2D35380DEF04}">
      <dgm:prSet custT="1"/>
      <dgm:spPr/>
      <dgm:t>
        <a:bodyPr/>
        <a:lstStyle/>
        <a:p>
          <a:r>
            <a:rPr lang="en-US" sz="1100" b="0"/>
            <a:t>Assigned exercises in </a:t>
          </a:r>
          <a:r>
            <a:rPr lang="en-US" sz="1100" b="0" err="1"/>
            <a:t>Datacamp</a:t>
          </a:r>
          <a:r>
            <a:rPr lang="en-US" sz="1100" b="0"/>
            <a:t>*</a:t>
          </a:r>
          <a:endParaRPr lang="en-US" sz="1100"/>
        </a:p>
      </dgm:t>
    </dgm:pt>
    <dgm:pt modelId="{8F26A82C-9CA1-4847-96A0-B4788E22A402}" type="parTrans" cxnId="{D28DABDD-C52A-4B8C-8E35-C65429DC6D9F}">
      <dgm:prSet/>
      <dgm:spPr/>
      <dgm:t>
        <a:bodyPr/>
        <a:lstStyle/>
        <a:p>
          <a:endParaRPr lang="en-US" sz="2000"/>
        </a:p>
      </dgm:t>
    </dgm:pt>
    <dgm:pt modelId="{A19C2F39-2F1B-4F32-8736-5D39A859AC9C}" type="sibTrans" cxnId="{D28DABDD-C52A-4B8C-8E35-C65429DC6D9F}">
      <dgm:prSet/>
      <dgm:spPr/>
      <dgm:t>
        <a:bodyPr/>
        <a:lstStyle/>
        <a:p>
          <a:endParaRPr lang="en-US" sz="2000"/>
        </a:p>
      </dgm:t>
    </dgm:pt>
    <dgm:pt modelId="{69D35E24-72C1-4290-A59D-AF8EAE934756}">
      <dgm:prSet custT="1"/>
      <dgm:spPr/>
      <dgm:t>
        <a:bodyPr/>
        <a:lstStyle/>
        <a:p>
          <a:r>
            <a:rPr lang="en-US" sz="1100" dirty="0"/>
            <a:t>Theory and hands-on exercises</a:t>
          </a:r>
        </a:p>
      </dgm:t>
    </dgm:pt>
    <dgm:pt modelId="{B1DE5D74-7169-4B8D-83F8-450E604775D6}" type="parTrans" cxnId="{D6FF4565-C1D5-4D4E-9A85-A17A1EFADFF9}">
      <dgm:prSet/>
      <dgm:spPr/>
      <dgm:t>
        <a:bodyPr/>
        <a:lstStyle/>
        <a:p>
          <a:endParaRPr lang="en-US" sz="2000"/>
        </a:p>
      </dgm:t>
    </dgm:pt>
    <dgm:pt modelId="{792699C3-5E16-42B3-920F-6D7155B23244}" type="sibTrans" cxnId="{D6FF4565-C1D5-4D4E-9A85-A17A1EFADFF9}">
      <dgm:prSet/>
      <dgm:spPr/>
      <dgm:t>
        <a:bodyPr/>
        <a:lstStyle/>
        <a:p>
          <a:endParaRPr lang="en-US" sz="2000"/>
        </a:p>
      </dgm:t>
    </dgm:pt>
    <dgm:pt modelId="{9134475C-67FA-41FB-A6C0-D8A3BE95D482}">
      <dgm:prSet custT="1"/>
      <dgm:spPr/>
      <dgm:t>
        <a:bodyPr/>
        <a:lstStyle/>
        <a:p>
          <a:r>
            <a:rPr lang="en-US" sz="1200" b="0"/>
            <a:t>Project completion</a:t>
          </a:r>
          <a:endParaRPr lang="en-US" sz="1200"/>
        </a:p>
      </dgm:t>
    </dgm:pt>
    <dgm:pt modelId="{504020C9-0E72-4EC3-9343-E6EC450FE6F7}" type="parTrans" cxnId="{7F6A2031-96B2-4282-BB11-6965C4868C65}">
      <dgm:prSet/>
      <dgm:spPr/>
      <dgm:t>
        <a:bodyPr/>
        <a:lstStyle/>
        <a:p>
          <a:endParaRPr lang="en-US" sz="2000"/>
        </a:p>
      </dgm:t>
    </dgm:pt>
    <dgm:pt modelId="{72F82EA0-E434-4A6D-BFCB-49339D1A0008}" type="sibTrans" cxnId="{7F6A2031-96B2-4282-BB11-6965C4868C65}">
      <dgm:prSet/>
      <dgm:spPr/>
      <dgm:t>
        <a:bodyPr/>
        <a:lstStyle/>
        <a:p>
          <a:endParaRPr lang="en-US" sz="2000"/>
        </a:p>
      </dgm:t>
    </dgm:pt>
    <dgm:pt modelId="{DBBFC379-01F9-47C4-A166-6E6B307112FC}">
      <dgm:prSet custT="1"/>
      <dgm:spPr/>
      <dgm:t>
        <a:bodyPr/>
        <a:lstStyle/>
        <a:p>
          <a:r>
            <a:rPr lang="en-US" sz="1100"/>
            <a:t>Advanced Analytics introduction</a:t>
          </a:r>
        </a:p>
      </dgm:t>
    </dgm:pt>
    <dgm:pt modelId="{07CAA88C-DDCC-42EC-A363-51D703F43E3A}" type="parTrans" cxnId="{3C6F8A8E-00BA-4D1E-83C6-ADDCAA9D37C0}">
      <dgm:prSet/>
      <dgm:spPr/>
      <dgm:t>
        <a:bodyPr/>
        <a:lstStyle/>
        <a:p>
          <a:endParaRPr lang="en-US"/>
        </a:p>
      </dgm:t>
    </dgm:pt>
    <dgm:pt modelId="{DFA2984D-02C2-4B7E-A8F3-72391BA4A51B}" type="sibTrans" cxnId="{3C6F8A8E-00BA-4D1E-83C6-ADDCAA9D37C0}">
      <dgm:prSet/>
      <dgm:spPr/>
      <dgm:t>
        <a:bodyPr/>
        <a:lstStyle/>
        <a:p>
          <a:endParaRPr lang="en-US"/>
        </a:p>
      </dgm:t>
    </dgm:pt>
    <dgm:pt modelId="{5A334845-CC08-454D-B080-1FDAA97310DA}" type="pres">
      <dgm:prSet presAssocID="{4487A606-8AFD-4FC2-94A6-9E1900DD16AD}" presName="Name0" presStyleCnt="0">
        <dgm:presLayoutVars>
          <dgm:dir/>
          <dgm:animLvl val="lvl"/>
          <dgm:resizeHandles val="exact"/>
        </dgm:presLayoutVars>
      </dgm:prSet>
      <dgm:spPr/>
    </dgm:pt>
    <dgm:pt modelId="{62162E48-C569-4F82-B475-09A17126BF40}" type="pres">
      <dgm:prSet presAssocID="{4487A606-8AFD-4FC2-94A6-9E1900DD16AD}" presName="tSp" presStyleCnt="0"/>
      <dgm:spPr/>
    </dgm:pt>
    <dgm:pt modelId="{E4AAA7D5-3DCF-4523-93EC-19F863447B2D}" type="pres">
      <dgm:prSet presAssocID="{4487A606-8AFD-4FC2-94A6-9E1900DD16AD}" presName="bSp" presStyleCnt="0"/>
      <dgm:spPr/>
    </dgm:pt>
    <dgm:pt modelId="{C7232818-D2EC-48DA-8576-960EA4B85A90}" type="pres">
      <dgm:prSet presAssocID="{4487A606-8AFD-4FC2-94A6-9E1900DD16AD}" presName="process" presStyleCnt="0"/>
      <dgm:spPr/>
    </dgm:pt>
    <dgm:pt modelId="{EEB745C4-A1F0-4119-A6D7-1C40A35303A7}" type="pres">
      <dgm:prSet presAssocID="{3D1B07AF-DA11-40C0-860B-E1F0391BB6DD}" presName="composite1" presStyleCnt="0"/>
      <dgm:spPr/>
    </dgm:pt>
    <dgm:pt modelId="{A6021CB1-A41B-4F7F-89F0-F52403727CD0}" type="pres">
      <dgm:prSet presAssocID="{3D1B07AF-DA11-40C0-860B-E1F0391BB6DD}" presName="dummyNode1" presStyleLbl="node1" presStyleIdx="0" presStyleCnt="4"/>
      <dgm:spPr/>
    </dgm:pt>
    <dgm:pt modelId="{F60964AB-29D1-4E90-9063-1D45BE23F34C}" type="pres">
      <dgm:prSet presAssocID="{3D1B07AF-DA11-40C0-860B-E1F0391BB6DD}" presName="childNode1" presStyleLbl="bgAcc1" presStyleIdx="0" presStyleCnt="4">
        <dgm:presLayoutVars>
          <dgm:bulletEnabled val="1"/>
        </dgm:presLayoutVars>
      </dgm:prSet>
      <dgm:spPr/>
    </dgm:pt>
    <dgm:pt modelId="{65C54A0E-199D-4BCE-BFA3-C410D6E578EB}" type="pres">
      <dgm:prSet presAssocID="{3D1B07AF-DA11-40C0-860B-E1F0391BB6DD}" presName="childNode1tx" presStyleLbl="bgAcc1" presStyleIdx="0" presStyleCnt="4">
        <dgm:presLayoutVars>
          <dgm:bulletEnabled val="1"/>
        </dgm:presLayoutVars>
      </dgm:prSet>
      <dgm:spPr/>
    </dgm:pt>
    <dgm:pt modelId="{8F9A6F2A-4EAF-4CA7-83DA-32E1FCD05F33}" type="pres">
      <dgm:prSet presAssocID="{3D1B07AF-DA11-40C0-860B-E1F0391BB6DD}" presName="parentNode1" presStyleLbl="node1" presStyleIdx="0" presStyleCnt="4">
        <dgm:presLayoutVars>
          <dgm:chMax val="1"/>
          <dgm:bulletEnabled val="1"/>
        </dgm:presLayoutVars>
      </dgm:prSet>
      <dgm:spPr/>
    </dgm:pt>
    <dgm:pt modelId="{6DEF5790-D63B-4816-9D2B-870C89584639}" type="pres">
      <dgm:prSet presAssocID="{3D1B07AF-DA11-40C0-860B-E1F0391BB6DD}" presName="connSite1" presStyleCnt="0"/>
      <dgm:spPr/>
    </dgm:pt>
    <dgm:pt modelId="{B8DD2056-7ADF-4620-BA14-1737E51DB2E1}" type="pres">
      <dgm:prSet presAssocID="{344B00FD-E654-4A88-AF2E-838A3E4065CC}" presName="Name9" presStyleLbl="sibTrans2D1" presStyleIdx="0" presStyleCnt="3"/>
      <dgm:spPr/>
    </dgm:pt>
    <dgm:pt modelId="{2F05586F-F230-4AE7-8091-F99BCA97FA6B}" type="pres">
      <dgm:prSet presAssocID="{E6016EAD-9B7E-4693-A7B6-CF66F7A6F69E}" presName="composite2" presStyleCnt="0"/>
      <dgm:spPr/>
    </dgm:pt>
    <dgm:pt modelId="{1EF9ECEC-3300-4A67-9706-21DF4C184F2C}" type="pres">
      <dgm:prSet presAssocID="{E6016EAD-9B7E-4693-A7B6-CF66F7A6F69E}" presName="dummyNode2" presStyleLbl="node1" presStyleIdx="0" presStyleCnt="4"/>
      <dgm:spPr/>
    </dgm:pt>
    <dgm:pt modelId="{6500163B-E1AB-4233-9635-FF24BC8224CE}" type="pres">
      <dgm:prSet presAssocID="{E6016EAD-9B7E-4693-A7B6-CF66F7A6F69E}" presName="childNode2" presStyleLbl="bgAcc1" presStyleIdx="1" presStyleCnt="4">
        <dgm:presLayoutVars>
          <dgm:bulletEnabled val="1"/>
        </dgm:presLayoutVars>
      </dgm:prSet>
      <dgm:spPr/>
    </dgm:pt>
    <dgm:pt modelId="{FB478B14-B0C3-44AE-8F5F-04F15C735735}" type="pres">
      <dgm:prSet presAssocID="{E6016EAD-9B7E-4693-A7B6-CF66F7A6F69E}" presName="childNode2tx" presStyleLbl="bgAcc1" presStyleIdx="1" presStyleCnt="4">
        <dgm:presLayoutVars>
          <dgm:bulletEnabled val="1"/>
        </dgm:presLayoutVars>
      </dgm:prSet>
      <dgm:spPr/>
    </dgm:pt>
    <dgm:pt modelId="{5F0F4C82-76D4-48BB-AA09-F94547434EF4}" type="pres">
      <dgm:prSet presAssocID="{E6016EAD-9B7E-4693-A7B6-CF66F7A6F69E}" presName="parentNode2" presStyleLbl="node1" presStyleIdx="1" presStyleCnt="4">
        <dgm:presLayoutVars>
          <dgm:chMax val="0"/>
          <dgm:bulletEnabled val="1"/>
        </dgm:presLayoutVars>
      </dgm:prSet>
      <dgm:spPr/>
    </dgm:pt>
    <dgm:pt modelId="{C5F9449A-A1D2-45B6-8E14-4FAE95EF21E6}" type="pres">
      <dgm:prSet presAssocID="{E6016EAD-9B7E-4693-A7B6-CF66F7A6F69E}" presName="connSite2" presStyleCnt="0"/>
      <dgm:spPr/>
    </dgm:pt>
    <dgm:pt modelId="{09735BD5-FF61-40AC-8A18-D836DA3DCB7B}" type="pres">
      <dgm:prSet presAssocID="{BEE9512B-4451-4E43-B0E3-FB8B7E8F6FA1}" presName="Name18" presStyleLbl="sibTrans2D1" presStyleIdx="1" presStyleCnt="3"/>
      <dgm:spPr/>
    </dgm:pt>
    <dgm:pt modelId="{B3789DF3-DEBB-4FBE-905F-DD56F3E2AF72}" type="pres">
      <dgm:prSet presAssocID="{7A9CB970-66E7-4C55-BF6F-9A28DB6ABC98}" presName="composite1" presStyleCnt="0"/>
      <dgm:spPr/>
    </dgm:pt>
    <dgm:pt modelId="{D2E5FB66-31FB-4631-B137-DCC687B01B59}" type="pres">
      <dgm:prSet presAssocID="{7A9CB970-66E7-4C55-BF6F-9A28DB6ABC98}" presName="dummyNode1" presStyleLbl="node1" presStyleIdx="1" presStyleCnt="4"/>
      <dgm:spPr/>
    </dgm:pt>
    <dgm:pt modelId="{236C9DD3-AAB7-469C-AC43-1C44A23849EE}" type="pres">
      <dgm:prSet presAssocID="{7A9CB970-66E7-4C55-BF6F-9A28DB6ABC98}" presName="childNode1" presStyleLbl="bgAcc1" presStyleIdx="2" presStyleCnt="4">
        <dgm:presLayoutVars>
          <dgm:bulletEnabled val="1"/>
        </dgm:presLayoutVars>
      </dgm:prSet>
      <dgm:spPr/>
    </dgm:pt>
    <dgm:pt modelId="{E4537C65-145C-4541-AD4E-07C5A6694524}" type="pres">
      <dgm:prSet presAssocID="{7A9CB970-66E7-4C55-BF6F-9A28DB6ABC98}" presName="childNode1tx" presStyleLbl="bgAcc1" presStyleIdx="2" presStyleCnt="4">
        <dgm:presLayoutVars>
          <dgm:bulletEnabled val="1"/>
        </dgm:presLayoutVars>
      </dgm:prSet>
      <dgm:spPr/>
    </dgm:pt>
    <dgm:pt modelId="{16D80763-6A4B-4DF5-9EBE-D6670146099B}" type="pres">
      <dgm:prSet presAssocID="{7A9CB970-66E7-4C55-BF6F-9A28DB6ABC98}" presName="parentNode1" presStyleLbl="node1" presStyleIdx="2" presStyleCnt="4">
        <dgm:presLayoutVars>
          <dgm:chMax val="1"/>
          <dgm:bulletEnabled val="1"/>
        </dgm:presLayoutVars>
      </dgm:prSet>
      <dgm:spPr/>
    </dgm:pt>
    <dgm:pt modelId="{A3B7FB48-46C9-4B0C-BBF3-EC2216B2A876}" type="pres">
      <dgm:prSet presAssocID="{7A9CB970-66E7-4C55-BF6F-9A28DB6ABC98}" presName="connSite1" presStyleCnt="0"/>
      <dgm:spPr/>
    </dgm:pt>
    <dgm:pt modelId="{92BC9017-A51F-456B-9543-05F48AE5C80D}" type="pres">
      <dgm:prSet presAssocID="{7FFD622D-C926-442D-95A8-2431690E2AB7}" presName="Name9" presStyleLbl="sibTrans2D1" presStyleIdx="2" presStyleCnt="3"/>
      <dgm:spPr/>
    </dgm:pt>
    <dgm:pt modelId="{C7F9D9F3-B4AC-474D-ABF2-491A895BA386}" type="pres">
      <dgm:prSet presAssocID="{ABA9FE4B-48A9-489F-A3D3-31EB1731A7D0}" presName="composite2" presStyleCnt="0"/>
      <dgm:spPr/>
    </dgm:pt>
    <dgm:pt modelId="{8068D162-7723-45B3-BD20-0A49BE0FE937}" type="pres">
      <dgm:prSet presAssocID="{ABA9FE4B-48A9-489F-A3D3-31EB1731A7D0}" presName="dummyNode2" presStyleLbl="node1" presStyleIdx="2" presStyleCnt="4"/>
      <dgm:spPr/>
    </dgm:pt>
    <dgm:pt modelId="{50F6759B-C864-474B-8CD1-CB28EF464A83}" type="pres">
      <dgm:prSet presAssocID="{ABA9FE4B-48A9-489F-A3D3-31EB1731A7D0}" presName="childNode2" presStyleLbl="bgAcc1" presStyleIdx="3" presStyleCnt="4">
        <dgm:presLayoutVars>
          <dgm:bulletEnabled val="1"/>
        </dgm:presLayoutVars>
      </dgm:prSet>
      <dgm:spPr/>
    </dgm:pt>
    <dgm:pt modelId="{1F633D4C-A4E6-42A5-948D-5120E7E73E2D}" type="pres">
      <dgm:prSet presAssocID="{ABA9FE4B-48A9-489F-A3D3-31EB1731A7D0}" presName="childNode2tx" presStyleLbl="bgAcc1" presStyleIdx="3" presStyleCnt="4">
        <dgm:presLayoutVars>
          <dgm:bulletEnabled val="1"/>
        </dgm:presLayoutVars>
      </dgm:prSet>
      <dgm:spPr/>
    </dgm:pt>
    <dgm:pt modelId="{92268A40-D1F0-4AD0-BE89-FB11EBC8AA27}" type="pres">
      <dgm:prSet presAssocID="{ABA9FE4B-48A9-489F-A3D3-31EB1731A7D0}" presName="parentNode2" presStyleLbl="node1" presStyleIdx="3" presStyleCnt="4">
        <dgm:presLayoutVars>
          <dgm:chMax val="0"/>
          <dgm:bulletEnabled val="1"/>
        </dgm:presLayoutVars>
      </dgm:prSet>
      <dgm:spPr/>
    </dgm:pt>
    <dgm:pt modelId="{ABFD50FF-4060-43D2-AEA5-B896C2BB7211}" type="pres">
      <dgm:prSet presAssocID="{ABA9FE4B-48A9-489F-A3D3-31EB1731A7D0}" presName="connSite2" presStyleCnt="0"/>
      <dgm:spPr/>
    </dgm:pt>
  </dgm:ptLst>
  <dgm:cxnLst>
    <dgm:cxn modelId="{FEFDA401-91C3-49EB-B7E2-E905DED89339}" type="presOf" srcId="{DBBFC379-01F9-47C4-A166-6E6B307112FC}" destId="{F60964AB-29D1-4E90-9063-1D45BE23F34C}" srcOrd="0" destOrd="1" presId="urn:microsoft.com/office/officeart/2005/8/layout/hProcess4"/>
    <dgm:cxn modelId="{1B871108-0EFE-457B-AD3A-FC29E0AE7B63}" type="presOf" srcId="{4487A606-8AFD-4FC2-94A6-9E1900DD16AD}" destId="{5A334845-CC08-454D-B080-1FDAA97310DA}" srcOrd="0" destOrd="0" presId="urn:microsoft.com/office/officeart/2005/8/layout/hProcess4"/>
    <dgm:cxn modelId="{0F017A0D-C40D-435D-B46A-B22C009538CA}" type="presOf" srcId="{BEE9512B-4451-4E43-B0E3-FB8B7E8F6FA1}" destId="{09735BD5-FF61-40AC-8A18-D836DA3DCB7B}" srcOrd="0" destOrd="0" presId="urn:microsoft.com/office/officeart/2005/8/layout/hProcess4"/>
    <dgm:cxn modelId="{7F6A2031-96B2-4282-BB11-6965C4868C65}" srcId="{ABA9FE4B-48A9-489F-A3D3-31EB1731A7D0}" destId="{9134475C-67FA-41FB-A6C0-D8A3BE95D482}" srcOrd="0" destOrd="0" parTransId="{504020C9-0E72-4EC3-9343-E6EC450FE6F7}" sibTransId="{72F82EA0-E434-4A6D-BFCB-49339D1A0008}"/>
    <dgm:cxn modelId="{00198239-449E-4864-8733-50E35BD27A0F}" type="presOf" srcId="{7FFD622D-C926-442D-95A8-2431690E2AB7}" destId="{92BC9017-A51F-456B-9543-05F48AE5C80D}" srcOrd="0" destOrd="0" presId="urn:microsoft.com/office/officeart/2005/8/layout/hProcess4"/>
    <dgm:cxn modelId="{91E4773A-3365-4AAF-A446-BB8C6A54685A}" srcId="{3D1B07AF-DA11-40C0-860B-E1F0391BB6DD}" destId="{4EF6582A-8D70-4CD3-AE77-DCD989890403}" srcOrd="0" destOrd="0" parTransId="{00FB4CFF-9E1F-4699-A003-E6655BEFED03}" sibTransId="{A42D04DA-7A90-49C9-9182-A6CF19E5B061}"/>
    <dgm:cxn modelId="{32151563-E6F8-4CEE-9060-46000E614B6B}" type="presOf" srcId="{61C512CF-6EA1-41E1-8E26-2D35380DEF04}" destId="{FB478B14-B0C3-44AE-8F5F-04F15C735735}" srcOrd="1" destOrd="0" presId="urn:microsoft.com/office/officeart/2005/8/layout/hProcess4"/>
    <dgm:cxn modelId="{D6FF4565-C1D5-4D4E-9A85-A17A1EFADFF9}" srcId="{7A9CB970-66E7-4C55-BF6F-9A28DB6ABC98}" destId="{69D35E24-72C1-4290-A59D-AF8EAE934756}" srcOrd="0" destOrd="0" parTransId="{B1DE5D74-7169-4B8D-83F8-450E604775D6}" sibTransId="{792699C3-5E16-42B3-920F-6D7155B23244}"/>
    <dgm:cxn modelId="{2AF6544F-E0B1-4BF9-9C9A-D24FB6F6A386}" type="presOf" srcId="{DBBFC379-01F9-47C4-A166-6E6B307112FC}" destId="{65C54A0E-199D-4BCE-BFA3-C410D6E578EB}" srcOrd="1" destOrd="1" presId="urn:microsoft.com/office/officeart/2005/8/layout/hProcess4"/>
    <dgm:cxn modelId="{B7A76352-1D2B-49C4-84EA-747A55AECBA8}" type="presOf" srcId="{9134475C-67FA-41FB-A6C0-D8A3BE95D482}" destId="{50F6759B-C864-474B-8CD1-CB28EF464A83}" srcOrd="0" destOrd="0" presId="urn:microsoft.com/office/officeart/2005/8/layout/hProcess4"/>
    <dgm:cxn modelId="{5180A555-C90F-47DD-9F1D-40580BF69154}" srcId="{4487A606-8AFD-4FC2-94A6-9E1900DD16AD}" destId="{3D1B07AF-DA11-40C0-860B-E1F0391BB6DD}" srcOrd="0" destOrd="0" parTransId="{1319C088-5574-4E69-AE53-DE1418455F00}" sibTransId="{344B00FD-E654-4A88-AF2E-838A3E4065CC}"/>
    <dgm:cxn modelId="{905F4957-E211-4053-A0A4-88BCB97F5FC6}" type="presOf" srcId="{3D1B07AF-DA11-40C0-860B-E1F0391BB6DD}" destId="{8F9A6F2A-4EAF-4CA7-83DA-32E1FCD05F33}" srcOrd="0" destOrd="0" presId="urn:microsoft.com/office/officeart/2005/8/layout/hProcess4"/>
    <dgm:cxn modelId="{3C80167E-6135-4F62-B46E-647331ED92F3}" srcId="{4487A606-8AFD-4FC2-94A6-9E1900DD16AD}" destId="{ABA9FE4B-48A9-489F-A3D3-31EB1731A7D0}" srcOrd="3" destOrd="0" parTransId="{DAE1E1D7-FC3F-4C94-8F58-1A28BC966436}" sibTransId="{DE7C43C6-1DC0-425A-8AD6-60B6E09768CA}"/>
    <dgm:cxn modelId="{D5FFD685-41EA-4207-815E-23678B93EA42}" srcId="{4487A606-8AFD-4FC2-94A6-9E1900DD16AD}" destId="{E6016EAD-9B7E-4693-A7B6-CF66F7A6F69E}" srcOrd="1" destOrd="0" parTransId="{11C10CE6-87E8-4951-9E59-AB3EA98B1CF2}" sibTransId="{BEE9512B-4451-4E43-B0E3-FB8B7E8F6FA1}"/>
    <dgm:cxn modelId="{3C6F8A8E-00BA-4D1E-83C6-ADDCAA9D37C0}" srcId="{3D1B07AF-DA11-40C0-860B-E1F0391BB6DD}" destId="{DBBFC379-01F9-47C4-A166-6E6B307112FC}" srcOrd="1" destOrd="0" parTransId="{07CAA88C-DDCC-42EC-A363-51D703F43E3A}" sibTransId="{DFA2984D-02C2-4B7E-A8F3-72391BA4A51B}"/>
    <dgm:cxn modelId="{A951A795-46FF-4EBB-BE27-EC3A6C5CE1EC}" type="presOf" srcId="{4EF6582A-8D70-4CD3-AE77-DCD989890403}" destId="{65C54A0E-199D-4BCE-BFA3-C410D6E578EB}" srcOrd="1" destOrd="0" presId="urn:microsoft.com/office/officeart/2005/8/layout/hProcess4"/>
    <dgm:cxn modelId="{CCFAD495-5C58-48CF-96E5-66D69DDAA683}" type="presOf" srcId="{344B00FD-E654-4A88-AF2E-838A3E4065CC}" destId="{B8DD2056-7ADF-4620-BA14-1737E51DB2E1}" srcOrd="0" destOrd="0" presId="urn:microsoft.com/office/officeart/2005/8/layout/hProcess4"/>
    <dgm:cxn modelId="{FEC272A6-8033-4B0A-9CE4-D118692E6281}" type="presOf" srcId="{69D35E24-72C1-4290-A59D-AF8EAE934756}" destId="{236C9DD3-AAB7-469C-AC43-1C44A23849EE}" srcOrd="0" destOrd="0" presId="urn:microsoft.com/office/officeart/2005/8/layout/hProcess4"/>
    <dgm:cxn modelId="{3AD963B4-A680-4DC4-8FCE-E0D6748A492E}" type="presOf" srcId="{9134475C-67FA-41FB-A6C0-D8A3BE95D482}" destId="{1F633D4C-A4E6-42A5-948D-5120E7E73E2D}" srcOrd="1" destOrd="0" presId="urn:microsoft.com/office/officeart/2005/8/layout/hProcess4"/>
    <dgm:cxn modelId="{C24E4DB8-8726-4D70-89F3-0CE01E78A6D0}" type="presOf" srcId="{7A9CB970-66E7-4C55-BF6F-9A28DB6ABC98}" destId="{16D80763-6A4B-4DF5-9EBE-D6670146099B}" srcOrd="0" destOrd="0" presId="urn:microsoft.com/office/officeart/2005/8/layout/hProcess4"/>
    <dgm:cxn modelId="{0B588DC7-3F35-4D22-9095-BD24F450134E}" srcId="{4487A606-8AFD-4FC2-94A6-9E1900DD16AD}" destId="{7A9CB970-66E7-4C55-BF6F-9A28DB6ABC98}" srcOrd="2" destOrd="0" parTransId="{9A8D1422-24BA-47A3-9E73-00B75DA9862F}" sibTransId="{7FFD622D-C926-442D-95A8-2431690E2AB7}"/>
    <dgm:cxn modelId="{4FC392CF-731A-4673-B76D-75AF8B8D485F}" type="presOf" srcId="{E6016EAD-9B7E-4693-A7B6-CF66F7A6F69E}" destId="{5F0F4C82-76D4-48BB-AA09-F94547434EF4}" srcOrd="0" destOrd="0" presId="urn:microsoft.com/office/officeart/2005/8/layout/hProcess4"/>
    <dgm:cxn modelId="{FCEBB4D4-0A78-493C-93BA-3947052D087A}" type="presOf" srcId="{4EF6582A-8D70-4CD3-AE77-DCD989890403}" destId="{F60964AB-29D1-4E90-9063-1D45BE23F34C}" srcOrd="0" destOrd="0" presId="urn:microsoft.com/office/officeart/2005/8/layout/hProcess4"/>
    <dgm:cxn modelId="{D28DABDD-C52A-4B8C-8E35-C65429DC6D9F}" srcId="{E6016EAD-9B7E-4693-A7B6-CF66F7A6F69E}" destId="{61C512CF-6EA1-41E1-8E26-2D35380DEF04}" srcOrd="0" destOrd="0" parTransId="{8F26A82C-9CA1-4847-96A0-B4788E22A402}" sibTransId="{A19C2F39-2F1B-4F32-8736-5D39A859AC9C}"/>
    <dgm:cxn modelId="{D2E41AE5-CDC2-41EA-BB22-6FE1AB6D6D02}" type="presOf" srcId="{61C512CF-6EA1-41E1-8E26-2D35380DEF04}" destId="{6500163B-E1AB-4233-9635-FF24BC8224CE}" srcOrd="0" destOrd="0" presId="urn:microsoft.com/office/officeart/2005/8/layout/hProcess4"/>
    <dgm:cxn modelId="{BD4452F3-6E55-40D1-813B-454B843C130F}" type="presOf" srcId="{ABA9FE4B-48A9-489F-A3D3-31EB1731A7D0}" destId="{92268A40-D1F0-4AD0-BE89-FB11EBC8AA27}" srcOrd="0" destOrd="0" presId="urn:microsoft.com/office/officeart/2005/8/layout/hProcess4"/>
    <dgm:cxn modelId="{004F37FE-7084-4AE2-9571-C76B165CE1C3}" type="presOf" srcId="{69D35E24-72C1-4290-A59D-AF8EAE934756}" destId="{E4537C65-145C-4541-AD4E-07C5A6694524}" srcOrd="1" destOrd="0" presId="urn:microsoft.com/office/officeart/2005/8/layout/hProcess4"/>
    <dgm:cxn modelId="{E0AA32B2-CB29-4AD5-9CAA-120FCEF6BE77}" type="presParOf" srcId="{5A334845-CC08-454D-B080-1FDAA97310DA}" destId="{62162E48-C569-4F82-B475-09A17126BF40}" srcOrd="0" destOrd="0" presId="urn:microsoft.com/office/officeart/2005/8/layout/hProcess4"/>
    <dgm:cxn modelId="{7ECF237B-3678-4BBA-B75A-1AE2D2663218}" type="presParOf" srcId="{5A334845-CC08-454D-B080-1FDAA97310DA}" destId="{E4AAA7D5-3DCF-4523-93EC-19F863447B2D}" srcOrd="1" destOrd="0" presId="urn:microsoft.com/office/officeart/2005/8/layout/hProcess4"/>
    <dgm:cxn modelId="{2B95917A-BE83-495E-A09D-6B2B43947A7B}" type="presParOf" srcId="{5A334845-CC08-454D-B080-1FDAA97310DA}" destId="{C7232818-D2EC-48DA-8576-960EA4B85A90}" srcOrd="2" destOrd="0" presId="urn:microsoft.com/office/officeart/2005/8/layout/hProcess4"/>
    <dgm:cxn modelId="{684A01E8-52AD-44A9-A278-ACDBE27B911F}" type="presParOf" srcId="{C7232818-D2EC-48DA-8576-960EA4B85A90}" destId="{EEB745C4-A1F0-4119-A6D7-1C40A35303A7}" srcOrd="0" destOrd="0" presId="urn:microsoft.com/office/officeart/2005/8/layout/hProcess4"/>
    <dgm:cxn modelId="{CB2D11B6-167D-443A-9683-93DE0B55A1BC}" type="presParOf" srcId="{EEB745C4-A1F0-4119-A6D7-1C40A35303A7}" destId="{A6021CB1-A41B-4F7F-89F0-F52403727CD0}" srcOrd="0" destOrd="0" presId="urn:microsoft.com/office/officeart/2005/8/layout/hProcess4"/>
    <dgm:cxn modelId="{B94F34FE-7E3F-489F-8951-68505E901203}" type="presParOf" srcId="{EEB745C4-A1F0-4119-A6D7-1C40A35303A7}" destId="{F60964AB-29D1-4E90-9063-1D45BE23F34C}" srcOrd="1" destOrd="0" presId="urn:microsoft.com/office/officeart/2005/8/layout/hProcess4"/>
    <dgm:cxn modelId="{CFF9B630-4840-4A01-8C42-7C153FBA09F1}" type="presParOf" srcId="{EEB745C4-A1F0-4119-A6D7-1C40A35303A7}" destId="{65C54A0E-199D-4BCE-BFA3-C410D6E578EB}" srcOrd="2" destOrd="0" presId="urn:microsoft.com/office/officeart/2005/8/layout/hProcess4"/>
    <dgm:cxn modelId="{CC0A57CA-73D9-4D97-9424-010317B1C1FB}" type="presParOf" srcId="{EEB745C4-A1F0-4119-A6D7-1C40A35303A7}" destId="{8F9A6F2A-4EAF-4CA7-83DA-32E1FCD05F33}" srcOrd="3" destOrd="0" presId="urn:microsoft.com/office/officeart/2005/8/layout/hProcess4"/>
    <dgm:cxn modelId="{D45EC621-CDCE-4AC2-B245-6692EDD3597C}" type="presParOf" srcId="{EEB745C4-A1F0-4119-A6D7-1C40A35303A7}" destId="{6DEF5790-D63B-4816-9D2B-870C89584639}" srcOrd="4" destOrd="0" presId="urn:microsoft.com/office/officeart/2005/8/layout/hProcess4"/>
    <dgm:cxn modelId="{4C092E0E-6C71-4F8C-9D01-B8BDBFB9AFF9}" type="presParOf" srcId="{C7232818-D2EC-48DA-8576-960EA4B85A90}" destId="{B8DD2056-7ADF-4620-BA14-1737E51DB2E1}" srcOrd="1" destOrd="0" presId="urn:microsoft.com/office/officeart/2005/8/layout/hProcess4"/>
    <dgm:cxn modelId="{14E434C7-85ED-480A-A0D4-E1A608A9F018}" type="presParOf" srcId="{C7232818-D2EC-48DA-8576-960EA4B85A90}" destId="{2F05586F-F230-4AE7-8091-F99BCA97FA6B}" srcOrd="2" destOrd="0" presId="urn:microsoft.com/office/officeart/2005/8/layout/hProcess4"/>
    <dgm:cxn modelId="{F0E87A3C-8595-46DD-97F7-7DEE2D2EBCFB}" type="presParOf" srcId="{2F05586F-F230-4AE7-8091-F99BCA97FA6B}" destId="{1EF9ECEC-3300-4A67-9706-21DF4C184F2C}" srcOrd="0" destOrd="0" presId="urn:microsoft.com/office/officeart/2005/8/layout/hProcess4"/>
    <dgm:cxn modelId="{171F8687-52B3-4BDC-98F6-00667C67DD3D}" type="presParOf" srcId="{2F05586F-F230-4AE7-8091-F99BCA97FA6B}" destId="{6500163B-E1AB-4233-9635-FF24BC8224CE}" srcOrd="1" destOrd="0" presId="urn:microsoft.com/office/officeart/2005/8/layout/hProcess4"/>
    <dgm:cxn modelId="{8F5B74CB-73A9-4739-86D9-312EEF20ADD7}" type="presParOf" srcId="{2F05586F-F230-4AE7-8091-F99BCA97FA6B}" destId="{FB478B14-B0C3-44AE-8F5F-04F15C735735}" srcOrd="2" destOrd="0" presId="urn:microsoft.com/office/officeart/2005/8/layout/hProcess4"/>
    <dgm:cxn modelId="{C5714377-2639-46C4-8973-DDF07BD36957}" type="presParOf" srcId="{2F05586F-F230-4AE7-8091-F99BCA97FA6B}" destId="{5F0F4C82-76D4-48BB-AA09-F94547434EF4}" srcOrd="3" destOrd="0" presId="urn:microsoft.com/office/officeart/2005/8/layout/hProcess4"/>
    <dgm:cxn modelId="{5B1D0648-D9E3-4AE2-87B7-32A4717A086A}" type="presParOf" srcId="{2F05586F-F230-4AE7-8091-F99BCA97FA6B}" destId="{C5F9449A-A1D2-45B6-8E14-4FAE95EF21E6}" srcOrd="4" destOrd="0" presId="urn:microsoft.com/office/officeart/2005/8/layout/hProcess4"/>
    <dgm:cxn modelId="{CAA41BD8-0064-4710-86B4-7A82E353FCFD}" type="presParOf" srcId="{C7232818-D2EC-48DA-8576-960EA4B85A90}" destId="{09735BD5-FF61-40AC-8A18-D836DA3DCB7B}" srcOrd="3" destOrd="0" presId="urn:microsoft.com/office/officeart/2005/8/layout/hProcess4"/>
    <dgm:cxn modelId="{89B4CC7F-B486-4572-A029-EFF92D42EE79}" type="presParOf" srcId="{C7232818-D2EC-48DA-8576-960EA4B85A90}" destId="{B3789DF3-DEBB-4FBE-905F-DD56F3E2AF72}" srcOrd="4" destOrd="0" presId="urn:microsoft.com/office/officeart/2005/8/layout/hProcess4"/>
    <dgm:cxn modelId="{51E788F8-BE35-4F20-85F3-8D2EC3961F34}" type="presParOf" srcId="{B3789DF3-DEBB-4FBE-905F-DD56F3E2AF72}" destId="{D2E5FB66-31FB-4631-B137-DCC687B01B59}" srcOrd="0" destOrd="0" presId="urn:microsoft.com/office/officeart/2005/8/layout/hProcess4"/>
    <dgm:cxn modelId="{FB3BF3E2-913F-45DE-A3CF-073002563856}" type="presParOf" srcId="{B3789DF3-DEBB-4FBE-905F-DD56F3E2AF72}" destId="{236C9DD3-AAB7-469C-AC43-1C44A23849EE}" srcOrd="1" destOrd="0" presId="urn:microsoft.com/office/officeart/2005/8/layout/hProcess4"/>
    <dgm:cxn modelId="{93F6CBE8-8A15-4051-A45F-5BBD317321ED}" type="presParOf" srcId="{B3789DF3-DEBB-4FBE-905F-DD56F3E2AF72}" destId="{E4537C65-145C-4541-AD4E-07C5A6694524}" srcOrd="2" destOrd="0" presId="urn:microsoft.com/office/officeart/2005/8/layout/hProcess4"/>
    <dgm:cxn modelId="{41B969BD-48EE-4754-AEAB-D4FC8D713A9B}" type="presParOf" srcId="{B3789DF3-DEBB-4FBE-905F-DD56F3E2AF72}" destId="{16D80763-6A4B-4DF5-9EBE-D6670146099B}" srcOrd="3" destOrd="0" presId="urn:microsoft.com/office/officeart/2005/8/layout/hProcess4"/>
    <dgm:cxn modelId="{3173462B-7CDB-498D-B1E7-25B542EC319F}" type="presParOf" srcId="{B3789DF3-DEBB-4FBE-905F-DD56F3E2AF72}" destId="{A3B7FB48-46C9-4B0C-BBF3-EC2216B2A876}" srcOrd="4" destOrd="0" presId="urn:microsoft.com/office/officeart/2005/8/layout/hProcess4"/>
    <dgm:cxn modelId="{B5074E0F-92EB-4DBA-95E0-6F2F5B7D33A3}" type="presParOf" srcId="{C7232818-D2EC-48DA-8576-960EA4B85A90}" destId="{92BC9017-A51F-456B-9543-05F48AE5C80D}" srcOrd="5" destOrd="0" presId="urn:microsoft.com/office/officeart/2005/8/layout/hProcess4"/>
    <dgm:cxn modelId="{27F64D5E-0A92-4444-8A0A-25557D84C640}" type="presParOf" srcId="{C7232818-D2EC-48DA-8576-960EA4B85A90}" destId="{C7F9D9F3-B4AC-474D-ABF2-491A895BA386}" srcOrd="6" destOrd="0" presId="urn:microsoft.com/office/officeart/2005/8/layout/hProcess4"/>
    <dgm:cxn modelId="{3AC2E1EB-EFC2-4019-9C0E-81B19D72D0B6}" type="presParOf" srcId="{C7F9D9F3-B4AC-474D-ABF2-491A895BA386}" destId="{8068D162-7723-45B3-BD20-0A49BE0FE937}" srcOrd="0" destOrd="0" presId="urn:microsoft.com/office/officeart/2005/8/layout/hProcess4"/>
    <dgm:cxn modelId="{133B01E4-A3FF-460D-8BED-7F025D2A40C2}" type="presParOf" srcId="{C7F9D9F3-B4AC-474D-ABF2-491A895BA386}" destId="{50F6759B-C864-474B-8CD1-CB28EF464A83}" srcOrd="1" destOrd="0" presId="urn:microsoft.com/office/officeart/2005/8/layout/hProcess4"/>
    <dgm:cxn modelId="{44874C33-BED1-49B4-BBFF-CDDD41CC3550}" type="presParOf" srcId="{C7F9D9F3-B4AC-474D-ABF2-491A895BA386}" destId="{1F633D4C-A4E6-42A5-948D-5120E7E73E2D}" srcOrd="2" destOrd="0" presId="urn:microsoft.com/office/officeart/2005/8/layout/hProcess4"/>
    <dgm:cxn modelId="{9AEE1428-4DBB-491C-BAA5-5E35575021CA}" type="presParOf" srcId="{C7F9D9F3-B4AC-474D-ABF2-491A895BA386}" destId="{92268A40-D1F0-4AD0-BE89-FB11EBC8AA27}" srcOrd="3" destOrd="0" presId="urn:microsoft.com/office/officeart/2005/8/layout/hProcess4"/>
    <dgm:cxn modelId="{E799E977-4C40-433D-871E-476968A8246B}" type="presParOf" srcId="{C7F9D9F3-B4AC-474D-ABF2-491A895BA386}" destId="{ABFD50FF-4060-43D2-AEA5-B896C2BB7211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487A606-8AFD-4FC2-94A6-9E1900DD16AD}" type="doc">
      <dgm:prSet loTypeId="urn:microsoft.com/office/officeart/2005/8/layout/process5" loCatId="process" qsTypeId="urn:microsoft.com/office/officeart/2005/8/quickstyle/simple1" qsCatId="simple" csTypeId="urn:microsoft.com/office/officeart/2005/8/colors/colorful4" csCatId="colorful" phldr="1"/>
      <dgm:spPr/>
    </dgm:pt>
    <dgm:pt modelId="{3D1B07AF-DA11-40C0-860B-E1F0391BB6DD}">
      <dgm:prSet phldrT="[Text]" custT="1"/>
      <dgm:spPr/>
      <dgm:t>
        <a:bodyPr/>
        <a:lstStyle/>
        <a:p>
          <a:r>
            <a:rPr lang="en-US" sz="1100" b="1" i="0" dirty="0"/>
            <a:t>Intro to Data Science in Python</a:t>
          </a:r>
          <a:endParaRPr lang="en-US" sz="1100" b="1" dirty="0"/>
        </a:p>
        <a:p>
          <a:r>
            <a:rPr lang="en-US" sz="1050" b="1" dirty="0">
              <a:solidFill>
                <a:schemeClr val="bg1">
                  <a:lumMod val="95000"/>
                </a:schemeClr>
              </a:solidFill>
            </a:rPr>
            <a:t>4 Hours</a:t>
          </a:r>
        </a:p>
      </dgm:t>
    </dgm:pt>
    <dgm:pt modelId="{1319C088-5574-4E69-AE53-DE1418455F00}" type="parTrans" cxnId="{5180A555-C90F-47DD-9F1D-40580BF69154}">
      <dgm:prSet/>
      <dgm:spPr/>
      <dgm:t>
        <a:bodyPr/>
        <a:lstStyle/>
        <a:p>
          <a:endParaRPr lang="en-US" sz="2000"/>
        </a:p>
      </dgm:t>
    </dgm:pt>
    <dgm:pt modelId="{344B00FD-E654-4A88-AF2E-838A3E4065CC}" type="sibTrans" cxnId="{5180A555-C90F-47DD-9F1D-40580BF69154}">
      <dgm:prSet/>
      <dgm:spPr/>
      <dgm:t>
        <a:bodyPr/>
        <a:lstStyle/>
        <a:p>
          <a:endParaRPr lang="en-US" sz="2000"/>
        </a:p>
      </dgm:t>
    </dgm:pt>
    <dgm:pt modelId="{E6016EAD-9B7E-4693-A7B6-CF66F7A6F69E}">
      <dgm:prSet phldrT="[Text]" custT="1"/>
      <dgm:spPr/>
      <dgm:t>
        <a:bodyPr/>
        <a:lstStyle/>
        <a:p>
          <a:r>
            <a:rPr lang="en-US" sz="1200" b="1" i="0" dirty="0"/>
            <a:t>Intro to Data Visualization with Matplotlib</a:t>
          </a:r>
        </a:p>
        <a:p>
          <a:r>
            <a:rPr lang="en-US" sz="1050" b="1" dirty="0">
              <a:solidFill>
                <a:schemeClr val="bg1">
                  <a:lumMod val="95000"/>
                </a:schemeClr>
              </a:solidFill>
            </a:rPr>
            <a:t>4 hours</a:t>
          </a:r>
        </a:p>
      </dgm:t>
    </dgm:pt>
    <dgm:pt modelId="{11C10CE6-87E8-4951-9E59-AB3EA98B1CF2}" type="parTrans" cxnId="{D5FFD685-41EA-4207-815E-23678B93EA42}">
      <dgm:prSet/>
      <dgm:spPr/>
      <dgm:t>
        <a:bodyPr/>
        <a:lstStyle/>
        <a:p>
          <a:endParaRPr lang="en-US" sz="2000"/>
        </a:p>
      </dgm:t>
    </dgm:pt>
    <dgm:pt modelId="{BEE9512B-4451-4E43-B0E3-FB8B7E8F6FA1}" type="sibTrans" cxnId="{D5FFD685-41EA-4207-815E-23678B93EA42}">
      <dgm:prSet/>
      <dgm:spPr/>
      <dgm:t>
        <a:bodyPr/>
        <a:lstStyle/>
        <a:p>
          <a:endParaRPr lang="en-US" sz="2000"/>
        </a:p>
      </dgm:t>
    </dgm:pt>
    <dgm:pt modelId="{7A9CB970-66E7-4C55-BF6F-9A28DB6ABC98}">
      <dgm:prSet phldrT="[Text]" custT="1"/>
      <dgm:spPr/>
      <dgm:t>
        <a:bodyPr/>
        <a:lstStyle/>
        <a:p>
          <a:r>
            <a:rPr lang="en-US" sz="1200" b="1" i="0"/>
            <a:t>Data Manipulation with pandas</a:t>
          </a:r>
          <a:endParaRPr lang="en-US" sz="1200"/>
        </a:p>
        <a:p>
          <a:r>
            <a:rPr lang="en-US" sz="1050" b="1">
              <a:solidFill>
                <a:schemeClr val="bg1">
                  <a:lumMod val="95000"/>
                </a:schemeClr>
              </a:solidFill>
            </a:rPr>
            <a:t>4 Hours</a:t>
          </a:r>
        </a:p>
      </dgm:t>
    </dgm:pt>
    <dgm:pt modelId="{9A8D1422-24BA-47A3-9E73-00B75DA9862F}" type="parTrans" cxnId="{0B588DC7-3F35-4D22-9095-BD24F450134E}">
      <dgm:prSet/>
      <dgm:spPr/>
      <dgm:t>
        <a:bodyPr/>
        <a:lstStyle/>
        <a:p>
          <a:endParaRPr lang="en-US" sz="2000"/>
        </a:p>
      </dgm:t>
    </dgm:pt>
    <dgm:pt modelId="{7FFD622D-C926-442D-95A8-2431690E2AB7}" type="sibTrans" cxnId="{0B588DC7-3F35-4D22-9095-BD24F450134E}">
      <dgm:prSet/>
      <dgm:spPr/>
      <dgm:t>
        <a:bodyPr/>
        <a:lstStyle/>
        <a:p>
          <a:endParaRPr lang="en-US" sz="2000"/>
        </a:p>
      </dgm:t>
    </dgm:pt>
    <dgm:pt modelId="{ABA9FE4B-48A9-489F-A3D3-31EB1731A7D0}">
      <dgm:prSet phldrT="[Text]" custT="1"/>
      <dgm:spPr/>
      <dgm:t>
        <a:bodyPr/>
        <a:lstStyle/>
        <a:p>
          <a:r>
            <a:rPr lang="en-US" sz="1200" b="1" i="0" dirty="0"/>
            <a:t>Analyzing Police Activity with pandas</a:t>
          </a:r>
          <a:endParaRPr lang="en-US" sz="1200" dirty="0"/>
        </a:p>
        <a:p>
          <a:r>
            <a:rPr lang="en-US" sz="1050" b="1" dirty="0">
              <a:solidFill>
                <a:schemeClr val="bg1">
                  <a:lumMod val="95000"/>
                </a:schemeClr>
              </a:solidFill>
            </a:rPr>
            <a:t>4 Hours</a:t>
          </a:r>
        </a:p>
      </dgm:t>
    </dgm:pt>
    <dgm:pt modelId="{DAE1E1D7-FC3F-4C94-8F58-1A28BC966436}" type="parTrans" cxnId="{3C80167E-6135-4F62-B46E-647331ED92F3}">
      <dgm:prSet/>
      <dgm:spPr/>
      <dgm:t>
        <a:bodyPr/>
        <a:lstStyle/>
        <a:p>
          <a:endParaRPr lang="en-US" sz="2000"/>
        </a:p>
      </dgm:t>
    </dgm:pt>
    <dgm:pt modelId="{DE7C43C6-1DC0-425A-8AD6-60B6E09768CA}" type="sibTrans" cxnId="{3C80167E-6135-4F62-B46E-647331ED92F3}">
      <dgm:prSet/>
      <dgm:spPr/>
      <dgm:t>
        <a:bodyPr/>
        <a:lstStyle/>
        <a:p>
          <a:endParaRPr lang="en-US" sz="2000"/>
        </a:p>
      </dgm:t>
    </dgm:pt>
    <dgm:pt modelId="{6CD3F719-EAB5-403F-8F0C-0C21932CC9B3}">
      <dgm:prSet phldrT="[Text]" custT="1"/>
      <dgm:spPr/>
      <dgm:t>
        <a:bodyPr/>
        <a:lstStyle/>
        <a:p>
          <a:pPr algn="ctr"/>
          <a:r>
            <a:rPr lang="en-US" sz="1100" b="1" dirty="0"/>
            <a:t>Data Science for Business</a:t>
          </a:r>
        </a:p>
        <a:p>
          <a:pPr algn="ctr"/>
          <a:r>
            <a:rPr lang="en-US" sz="1100" b="1" dirty="0"/>
            <a:t>2 hours</a:t>
          </a:r>
        </a:p>
      </dgm:t>
    </dgm:pt>
    <dgm:pt modelId="{97D9B525-0357-476F-B5E9-F60A0AFEDFFD}" type="parTrans" cxnId="{383C4ECA-BEFE-487D-B28B-82B9A54047B7}">
      <dgm:prSet/>
      <dgm:spPr/>
      <dgm:t>
        <a:bodyPr/>
        <a:lstStyle/>
        <a:p>
          <a:endParaRPr lang="en-US"/>
        </a:p>
      </dgm:t>
    </dgm:pt>
    <dgm:pt modelId="{56178C39-DEB3-4820-9CE8-F7545969944F}" type="sibTrans" cxnId="{383C4ECA-BEFE-487D-B28B-82B9A54047B7}">
      <dgm:prSet/>
      <dgm:spPr/>
      <dgm:t>
        <a:bodyPr/>
        <a:lstStyle/>
        <a:p>
          <a:endParaRPr lang="en-US"/>
        </a:p>
      </dgm:t>
    </dgm:pt>
    <dgm:pt modelId="{539BC70E-38D9-43A0-BBDF-0512B55DEFE0}" type="pres">
      <dgm:prSet presAssocID="{4487A606-8AFD-4FC2-94A6-9E1900DD16AD}" presName="diagram" presStyleCnt="0">
        <dgm:presLayoutVars>
          <dgm:dir/>
          <dgm:resizeHandles val="exact"/>
        </dgm:presLayoutVars>
      </dgm:prSet>
      <dgm:spPr/>
    </dgm:pt>
    <dgm:pt modelId="{6717A998-5C6A-408E-BD6A-9F8DB84A31C0}" type="pres">
      <dgm:prSet presAssocID="{6CD3F719-EAB5-403F-8F0C-0C21932CC9B3}" presName="node" presStyleLbl="node1" presStyleIdx="0" presStyleCnt="5" custScaleY="191272">
        <dgm:presLayoutVars>
          <dgm:bulletEnabled val="1"/>
        </dgm:presLayoutVars>
      </dgm:prSet>
      <dgm:spPr/>
    </dgm:pt>
    <dgm:pt modelId="{257B2A8B-581C-4B77-85C5-DA3795C9D11F}" type="pres">
      <dgm:prSet presAssocID="{56178C39-DEB3-4820-9CE8-F7545969944F}" presName="sibTrans" presStyleLbl="sibTrans2D1" presStyleIdx="0" presStyleCnt="4"/>
      <dgm:spPr/>
    </dgm:pt>
    <dgm:pt modelId="{8DAF4F6C-9E0F-4E59-901D-42951F4D70A3}" type="pres">
      <dgm:prSet presAssocID="{56178C39-DEB3-4820-9CE8-F7545969944F}" presName="connectorText" presStyleLbl="sibTrans2D1" presStyleIdx="0" presStyleCnt="4"/>
      <dgm:spPr/>
    </dgm:pt>
    <dgm:pt modelId="{1D86DE16-0570-4E56-AE80-CCD16F1259A9}" type="pres">
      <dgm:prSet presAssocID="{3D1B07AF-DA11-40C0-860B-E1F0391BB6DD}" presName="node" presStyleLbl="node1" presStyleIdx="1" presStyleCnt="5" custScaleX="106735" custScaleY="191272">
        <dgm:presLayoutVars>
          <dgm:bulletEnabled val="1"/>
        </dgm:presLayoutVars>
      </dgm:prSet>
      <dgm:spPr/>
    </dgm:pt>
    <dgm:pt modelId="{D852397A-3E57-41A0-AAD4-005102C82372}" type="pres">
      <dgm:prSet presAssocID="{344B00FD-E654-4A88-AF2E-838A3E4065CC}" presName="sibTrans" presStyleLbl="sibTrans2D1" presStyleIdx="1" presStyleCnt="4"/>
      <dgm:spPr/>
    </dgm:pt>
    <dgm:pt modelId="{9E66B504-A350-406C-B31B-08895C48E524}" type="pres">
      <dgm:prSet presAssocID="{344B00FD-E654-4A88-AF2E-838A3E4065CC}" presName="connectorText" presStyleLbl="sibTrans2D1" presStyleIdx="1" presStyleCnt="4"/>
      <dgm:spPr/>
    </dgm:pt>
    <dgm:pt modelId="{5F23295F-8E2A-4A45-89AC-2C9C85FA3356}" type="pres">
      <dgm:prSet presAssocID="{E6016EAD-9B7E-4693-A7B6-CF66F7A6F69E}" presName="node" presStyleLbl="node1" presStyleIdx="2" presStyleCnt="5" custScaleY="191272">
        <dgm:presLayoutVars>
          <dgm:bulletEnabled val="1"/>
        </dgm:presLayoutVars>
      </dgm:prSet>
      <dgm:spPr/>
    </dgm:pt>
    <dgm:pt modelId="{0B5035D1-38AC-4FAF-9A28-98145F0C5771}" type="pres">
      <dgm:prSet presAssocID="{BEE9512B-4451-4E43-B0E3-FB8B7E8F6FA1}" presName="sibTrans" presStyleLbl="sibTrans2D1" presStyleIdx="2" presStyleCnt="4"/>
      <dgm:spPr/>
    </dgm:pt>
    <dgm:pt modelId="{35C7B3FD-67E9-469B-BBF6-C1A57A49E51A}" type="pres">
      <dgm:prSet presAssocID="{BEE9512B-4451-4E43-B0E3-FB8B7E8F6FA1}" presName="connectorText" presStyleLbl="sibTrans2D1" presStyleIdx="2" presStyleCnt="4"/>
      <dgm:spPr/>
    </dgm:pt>
    <dgm:pt modelId="{19A53A09-3A3E-4C26-B752-6484005C24CF}" type="pres">
      <dgm:prSet presAssocID="{7A9CB970-66E7-4C55-BF6F-9A28DB6ABC98}" presName="node" presStyleLbl="node1" presStyleIdx="3" presStyleCnt="5" custScaleY="191272">
        <dgm:presLayoutVars>
          <dgm:bulletEnabled val="1"/>
        </dgm:presLayoutVars>
      </dgm:prSet>
      <dgm:spPr/>
    </dgm:pt>
    <dgm:pt modelId="{36A3AB69-3444-4A96-9796-8E763E2AF179}" type="pres">
      <dgm:prSet presAssocID="{7FFD622D-C926-442D-95A8-2431690E2AB7}" presName="sibTrans" presStyleLbl="sibTrans2D1" presStyleIdx="3" presStyleCnt="4"/>
      <dgm:spPr/>
    </dgm:pt>
    <dgm:pt modelId="{1F0FCF53-06C9-40DF-A955-AF86AB0B7004}" type="pres">
      <dgm:prSet presAssocID="{7FFD622D-C926-442D-95A8-2431690E2AB7}" presName="connectorText" presStyleLbl="sibTrans2D1" presStyleIdx="3" presStyleCnt="4"/>
      <dgm:spPr/>
    </dgm:pt>
    <dgm:pt modelId="{13051D09-BF61-4E1B-B38C-B4D1C055B606}" type="pres">
      <dgm:prSet presAssocID="{ABA9FE4B-48A9-489F-A3D3-31EB1731A7D0}" presName="node" presStyleLbl="node1" presStyleIdx="4" presStyleCnt="5" custScaleY="191272">
        <dgm:presLayoutVars>
          <dgm:bulletEnabled val="1"/>
        </dgm:presLayoutVars>
      </dgm:prSet>
      <dgm:spPr/>
    </dgm:pt>
  </dgm:ptLst>
  <dgm:cxnLst>
    <dgm:cxn modelId="{6E08DA00-698C-4F99-99E1-56FC0F13674D}" type="presOf" srcId="{56178C39-DEB3-4820-9CE8-F7545969944F}" destId="{8DAF4F6C-9E0F-4E59-901D-42951F4D70A3}" srcOrd="1" destOrd="0" presId="urn:microsoft.com/office/officeart/2005/8/layout/process5"/>
    <dgm:cxn modelId="{CE8CFE11-69C2-4FBC-92F3-882F0A81B293}" type="presOf" srcId="{7FFD622D-C926-442D-95A8-2431690E2AB7}" destId="{1F0FCF53-06C9-40DF-A955-AF86AB0B7004}" srcOrd="1" destOrd="0" presId="urn:microsoft.com/office/officeart/2005/8/layout/process5"/>
    <dgm:cxn modelId="{B1F3763F-9F4C-4A80-AF1E-DDC0658A158B}" type="presOf" srcId="{ABA9FE4B-48A9-489F-A3D3-31EB1731A7D0}" destId="{13051D09-BF61-4E1B-B38C-B4D1C055B606}" srcOrd="0" destOrd="0" presId="urn:microsoft.com/office/officeart/2005/8/layout/process5"/>
    <dgm:cxn modelId="{36C06C6D-A01B-4778-A87E-F214551CE3D3}" type="presOf" srcId="{E6016EAD-9B7E-4693-A7B6-CF66F7A6F69E}" destId="{5F23295F-8E2A-4A45-89AC-2C9C85FA3356}" srcOrd="0" destOrd="0" presId="urn:microsoft.com/office/officeart/2005/8/layout/process5"/>
    <dgm:cxn modelId="{BCE05E74-C6CB-431A-B64E-F813635E1AC1}" type="presOf" srcId="{6CD3F719-EAB5-403F-8F0C-0C21932CC9B3}" destId="{6717A998-5C6A-408E-BD6A-9F8DB84A31C0}" srcOrd="0" destOrd="0" presId="urn:microsoft.com/office/officeart/2005/8/layout/process5"/>
    <dgm:cxn modelId="{5180A555-C90F-47DD-9F1D-40580BF69154}" srcId="{4487A606-8AFD-4FC2-94A6-9E1900DD16AD}" destId="{3D1B07AF-DA11-40C0-860B-E1F0391BB6DD}" srcOrd="1" destOrd="0" parTransId="{1319C088-5574-4E69-AE53-DE1418455F00}" sibTransId="{344B00FD-E654-4A88-AF2E-838A3E4065CC}"/>
    <dgm:cxn modelId="{3C80167E-6135-4F62-B46E-647331ED92F3}" srcId="{4487A606-8AFD-4FC2-94A6-9E1900DD16AD}" destId="{ABA9FE4B-48A9-489F-A3D3-31EB1731A7D0}" srcOrd="4" destOrd="0" parTransId="{DAE1E1D7-FC3F-4C94-8F58-1A28BC966436}" sibTransId="{DE7C43C6-1DC0-425A-8AD6-60B6E09768CA}"/>
    <dgm:cxn modelId="{D764E47F-A4C2-46FE-B8FD-57A4BD74C895}" type="presOf" srcId="{BEE9512B-4451-4E43-B0E3-FB8B7E8F6FA1}" destId="{35C7B3FD-67E9-469B-BBF6-C1A57A49E51A}" srcOrd="1" destOrd="0" presId="urn:microsoft.com/office/officeart/2005/8/layout/process5"/>
    <dgm:cxn modelId="{D5FFD685-41EA-4207-815E-23678B93EA42}" srcId="{4487A606-8AFD-4FC2-94A6-9E1900DD16AD}" destId="{E6016EAD-9B7E-4693-A7B6-CF66F7A6F69E}" srcOrd="2" destOrd="0" parTransId="{11C10CE6-87E8-4951-9E59-AB3EA98B1CF2}" sibTransId="{BEE9512B-4451-4E43-B0E3-FB8B7E8F6FA1}"/>
    <dgm:cxn modelId="{4939F393-A07F-46DC-A505-481857812C3C}" type="presOf" srcId="{344B00FD-E654-4A88-AF2E-838A3E4065CC}" destId="{D852397A-3E57-41A0-AAD4-005102C82372}" srcOrd="0" destOrd="0" presId="urn:microsoft.com/office/officeart/2005/8/layout/process5"/>
    <dgm:cxn modelId="{D5EF06A4-28DD-46D4-A082-2E5521F66ED4}" type="presOf" srcId="{7FFD622D-C926-442D-95A8-2431690E2AB7}" destId="{36A3AB69-3444-4A96-9796-8E763E2AF179}" srcOrd="0" destOrd="0" presId="urn:microsoft.com/office/officeart/2005/8/layout/process5"/>
    <dgm:cxn modelId="{866345B0-4783-443B-87D6-65399F628727}" type="presOf" srcId="{BEE9512B-4451-4E43-B0E3-FB8B7E8F6FA1}" destId="{0B5035D1-38AC-4FAF-9A28-98145F0C5771}" srcOrd="0" destOrd="0" presId="urn:microsoft.com/office/officeart/2005/8/layout/process5"/>
    <dgm:cxn modelId="{C88D7DC1-64C9-4CEF-8DAE-9EA552BED131}" type="presOf" srcId="{56178C39-DEB3-4820-9CE8-F7545969944F}" destId="{257B2A8B-581C-4B77-85C5-DA3795C9D11F}" srcOrd="0" destOrd="0" presId="urn:microsoft.com/office/officeart/2005/8/layout/process5"/>
    <dgm:cxn modelId="{0B588DC7-3F35-4D22-9095-BD24F450134E}" srcId="{4487A606-8AFD-4FC2-94A6-9E1900DD16AD}" destId="{7A9CB970-66E7-4C55-BF6F-9A28DB6ABC98}" srcOrd="3" destOrd="0" parTransId="{9A8D1422-24BA-47A3-9E73-00B75DA9862F}" sibTransId="{7FFD622D-C926-442D-95A8-2431690E2AB7}"/>
    <dgm:cxn modelId="{383C4ECA-BEFE-487D-B28B-82B9A54047B7}" srcId="{4487A606-8AFD-4FC2-94A6-9E1900DD16AD}" destId="{6CD3F719-EAB5-403F-8F0C-0C21932CC9B3}" srcOrd="0" destOrd="0" parTransId="{97D9B525-0357-476F-B5E9-F60A0AFEDFFD}" sibTransId="{56178C39-DEB3-4820-9CE8-F7545969944F}"/>
    <dgm:cxn modelId="{64B423D3-2B58-425A-B46E-14F0F262C9EA}" type="presOf" srcId="{344B00FD-E654-4A88-AF2E-838A3E4065CC}" destId="{9E66B504-A350-406C-B31B-08895C48E524}" srcOrd="1" destOrd="0" presId="urn:microsoft.com/office/officeart/2005/8/layout/process5"/>
    <dgm:cxn modelId="{1AA325F6-AF24-4AFD-BAB0-BF10CA8E7499}" type="presOf" srcId="{7A9CB970-66E7-4C55-BF6F-9A28DB6ABC98}" destId="{19A53A09-3A3E-4C26-B752-6484005C24CF}" srcOrd="0" destOrd="0" presId="urn:microsoft.com/office/officeart/2005/8/layout/process5"/>
    <dgm:cxn modelId="{8042D5F9-AA55-449C-A8AE-E839C7C60B03}" type="presOf" srcId="{4487A606-8AFD-4FC2-94A6-9E1900DD16AD}" destId="{539BC70E-38D9-43A0-BBDF-0512B55DEFE0}" srcOrd="0" destOrd="0" presId="urn:microsoft.com/office/officeart/2005/8/layout/process5"/>
    <dgm:cxn modelId="{1F2AFAFD-048E-479D-BEE7-8851F51EDBA3}" type="presOf" srcId="{3D1B07AF-DA11-40C0-860B-E1F0391BB6DD}" destId="{1D86DE16-0570-4E56-AE80-CCD16F1259A9}" srcOrd="0" destOrd="0" presId="urn:microsoft.com/office/officeart/2005/8/layout/process5"/>
    <dgm:cxn modelId="{9C9C94D8-6DB4-451F-89BB-6CC87F8A005A}" type="presParOf" srcId="{539BC70E-38D9-43A0-BBDF-0512B55DEFE0}" destId="{6717A998-5C6A-408E-BD6A-9F8DB84A31C0}" srcOrd="0" destOrd="0" presId="urn:microsoft.com/office/officeart/2005/8/layout/process5"/>
    <dgm:cxn modelId="{13902698-0AD5-45AA-8808-AC53F22179A5}" type="presParOf" srcId="{539BC70E-38D9-43A0-BBDF-0512B55DEFE0}" destId="{257B2A8B-581C-4B77-85C5-DA3795C9D11F}" srcOrd="1" destOrd="0" presId="urn:microsoft.com/office/officeart/2005/8/layout/process5"/>
    <dgm:cxn modelId="{4FFA977E-F5DD-43BB-B0B2-F24F4BC1AB6F}" type="presParOf" srcId="{257B2A8B-581C-4B77-85C5-DA3795C9D11F}" destId="{8DAF4F6C-9E0F-4E59-901D-42951F4D70A3}" srcOrd="0" destOrd="0" presId="urn:microsoft.com/office/officeart/2005/8/layout/process5"/>
    <dgm:cxn modelId="{559F461F-2824-482C-AF84-D47FB60A6E4A}" type="presParOf" srcId="{539BC70E-38D9-43A0-BBDF-0512B55DEFE0}" destId="{1D86DE16-0570-4E56-AE80-CCD16F1259A9}" srcOrd="2" destOrd="0" presId="urn:microsoft.com/office/officeart/2005/8/layout/process5"/>
    <dgm:cxn modelId="{FB0395B4-F582-469D-A717-A972A9061848}" type="presParOf" srcId="{539BC70E-38D9-43A0-BBDF-0512B55DEFE0}" destId="{D852397A-3E57-41A0-AAD4-005102C82372}" srcOrd="3" destOrd="0" presId="urn:microsoft.com/office/officeart/2005/8/layout/process5"/>
    <dgm:cxn modelId="{78CC7B21-BE47-4B40-9625-A0ED7B6510FC}" type="presParOf" srcId="{D852397A-3E57-41A0-AAD4-005102C82372}" destId="{9E66B504-A350-406C-B31B-08895C48E524}" srcOrd="0" destOrd="0" presId="urn:microsoft.com/office/officeart/2005/8/layout/process5"/>
    <dgm:cxn modelId="{D696AB62-0A0B-4142-A7E8-73E8947C3174}" type="presParOf" srcId="{539BC70E-38D9-43A0-BBDF-0512B55DEFE0}" destId="{5F23295F-8E2A-4A45-89AC-2C9C85FA3356}" srcOrd="4" destOrd="0" presId="urn:microsoft.com/office/officeart/2005/8/layout/process5"/>
    <dgm:cxn modelId="{128DF4BD-266A-4DC2-A0E3-E7C5B629B714}" type="presParOf" srcId="{539BC70E-38D9-43A0-BBDF-0512B55DEFE0}" destId="{0B5035D1-38AC-4FAF-9A28-98145F0C5771}" srcOrd="5" destOrd="0" presId="urn:microsoft.com/office/officeart/2005/8/layout/process5"/>
    <dgm:cxn modelId="{6C5BF76F-AE7E-4044-B961-074358C2DFDA}" type="presParOf" srcId="{0B5035D1-38AC-4FAF-9A28-98145F0C5771}" destId="{35C7B3FD-67E9-469B-BBF6-C1A57A49E51A}" srcOrd="0" destOrd="0" presId="urn:microsoft.com/office/officeart/2005/8/layout/process5"/>
    <dgm:cxn modelId="{96ABC7CD-8ABC-42B7-90A8-23A3CA02E272}" type="presParOf" srcId="{539BC70E-38D9-43A0-BBDF-0512B55DEFE0}" destId="{19A53A09-3A3E-4C26-B752-6484005C24CF}" srcOrd="6" destOrd="0" presId="urn:microsoft.com/office/officeart/2005/8/layout/process5"/>
    <dgm:cxn modelId="{8E4C6E74-4F26-40E3-BB42-51F5A71BB170}" type="presParOf" srcId="{539BC70E-38D9-43A0-BBDF-0512B55DEFE0}" destId="{36A3AB69-3444-4A96-9796-8E763E2AF179}" srcOrd="7" destOrd="0" presId="urn:microsoft.com/office/officeart/2005/8/layout/process5"/>
    <dgm:cxn modelId="{1D44CBB2-7783-4901-A67F-3F5A153A118D}" type="presParOf" srcId="{36A3AB69-3444-4A96-9796-8E763E2AF179}" destId="{1F0FCF53-06C9-40DF-A955-AF86AB0B7004}" srcOrd="0" destOrd="0" presId="urn:microsoft.com/office/officeart/2005/8/layout/process5"/>
    <dgm:cxn modelId="{B5CCF44F-B9C5-45DC-9C43-214A5BAD301E}" type="presParOf" srcId="{539BC70E-38D9-43A0-BBDF-0512B55DEFE0}" destId="{13051D09-BF61-4E1B-B38C-B4D1C055B606}" srcOrd="8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60964AB-29D1-4E90-9063-1D45BE23F34C}">
      <dsp:nvSpPr>
        <dsp:cNvPr id="0" name=""/>
        <dsp:cNvSpPr/>
      </dsp:nvSpPr>
      <dsp:spPr>
        <a:xfrm>
          <a:off x="4059" y="1407189"/>
          <a:ext cx="1519909" cy="125360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kern="1200" dirty="0"/>
            <a:t>Introduction</a:t>
          </a:r>
          <a:endParaRPr lang="en-US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/>
            <a:t>Advanced Analytics introduction</a:t>
          </a:r>
        </a:p>
      </dsp:txBody>
      <dsp:txXfrm>
        <a:off x="32908" y="1436038"/>
        <a:ext cx="1462211" cy="927279"/>
      </dsp:txXfrm>
    </dsp:sp>
    <dsp:sp modelId="{B8DD2056-7ADF-4620-BA14-1737E51DB2E1}">
      <dsp:nvSpPr>
        <dsp:cNvPr id="0" name=""/>
        <dsp:cNvSpPr/>
      </dsp:nvSpPr>
      <dsp:spPr>
        <a:xfrm>
          <a:off x="863336" y="1724173"/>
          <a:ext cx="1648974" cy="1648974"/>
        </a:xfrm>
        <a:prstGeom prst="leftCircularArrow">
          <a:avLst>
            <a:gd name="adj1" fmla="val 2991"/>
            <a:gd name="adj2" fmla="val 366609"/>
            <a:gd name="adj3" fmla="val 2142119"/>
            <a:gd name="adj4" fmla="val 9024489"/>
            <a:gd name="adj5" fmla="val 3489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9A6F2A-4EAF-4CA7-83DA-32E1FCD05F33}">
      <dsp:nvSpPr>
        <dsp:cNvPr id="0" name=""/>
        <dsp:cNvSpPr/>
      </dsp:nvSpPr>
      <dsp:spPr>
        <a:xfrm>
          <a:off x="341817" y="2392166"/>
          <a:ext cx="1351030" cy="537260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Introduction</a:t>
          </a:r>
        </a:p>
      </dsp:txBody>
      <dsp:txXfrm>
        <a:off x="357553" y="2407902"/>
        <a:ext cx="1319558" cy="505788"/>
      </dsp:txXfrm>
    </dsp:sp>
    <dsp:sp modelId="{6500163B-E1AB-4233-9635-FF24BC8224CE}">
      <dsp:nvSpPr>
        <dsp:cNvPr id="0" name=""/>
        <dsp:cNvSpPr/>
      </dsp:nvSpPr>
      <dsp:spPr>
        <a:xfrm>
          <a:off x="1927673" y="1407189"/>
          <a:ext cx="1519909" cy="125360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-419792"/>
              <a:satOff val="11579"/>
              <a:lumOff val="549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kern="1200"/>
            <a:t>Assigned exercises in </a:t>
          </a:r>
          <a:r>
            <a:rPr lang="en-US" sz="1100" b="0" kern="1200" err="1"/>
            <a:t>Datacamp</a:t>
          </a:r>
          <a:r>
            <a:rPr lang="en-US" sz="1100" b="0" kern="1200"/>
            <a:t>*</a:t>
          </a:r>
          <a:endParaRPr lang="en-US" sz="1100" kern="1200"/>
        </a:p>
      </dsp:txBody>
      <dsp:txXfrm>
        <a:off x="1956522" y="1704668"/>
        <a:ext cx="1462211" cy="927279"/>
      </dsp:txXfrm>
    </dsp:sp>
    <dsp:sp modelId="{09735BD5-FF61-40AC-8A18-D836DA3DCB7B}">
      <dsp:nvSpPr>
        <dsp:cNvPr id="0" name=""/>
        <dsp:cNvSpPr/>
      </dsp:nvSpPr>
      <dsp:spPr>
        <a:xfrm>
          <a:off x="2774283" y="645684"/>
          <a:ext cx="1843185" cy="1843185"/>
        </a:xfrm>
        <a:prstGeom prst="circularArrow">
          <a:avLst>
            <a:gd name="adj1" fmla="val 2675"/>
            <a:gd name="adj2" fmla="val 325571"/>
            <a:gd name="adj3" fmla="val 19498919"/>
            <a:gd name="adj4" fmla="val 12575511"/>
            <a:gd name="adj5" fmla="val 3121"/>
          </a:avLst>
        </a:prstGeom>
        <a:solidFill>
          <a:schemeClr val="accent2">
            <a:hueOff val="-629688"/>
            <a:satOff val="17368"/>
            <a:lumOff val="823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F0F4C82-76D4-48BB-AA09-F94547434EF4}">
      <dsp:nvSpPr>
        <dsp:cNvPr id="0" name=""/>
        <dsp:cNvSpPr/>
      </dsp:nvSpPr>
      <dsp:spPr>
        <a:xfrm>
          <a:off x="2265430" y="1138559"/>
          <a:ext cx="1351030" cy="537260"/>
        </a:xfrm>
        <a:prstGeom prst="roundRect">
          <a:avLst>
            <a:gd name="adj" fmla="val 10000"/>
          </a:avLst>
        </a:prstGeom>
        <a:solidFill>
          <a:schemeClr val="accent2">
            <a:hueOff val="-419792"/>
            <a:satOff val="11579"/>
            <a:lumOff val="549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Pre-work</a:t>
          </a:r>
        </a:p>
      </dsp:txBody>
      <dsp:txXfrm>
        <a:off x="2281166" y="1154295"/>
        <a:ext cx="1319558" cy="505788"/>
      </dsp:txXfrm>
    </dsp:sp>
    <dsp:sp modelId="{236C9DD3-AAB7-469C-AC43-1C44A23849EE}">
      <dsp:nvSpPr>
        <dsp:cNvPr id="0" name=""/>
        <dsp:cNvSpPr/>
      </dsp:nvSpPr>
      <dsp:spPr>
        <a:xfrm>
          <a:off x="3851286" y="1407189"/>
          <a:ext cx="1519909" cy="125360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-839584"/>
              <a:satOff val="23157"/>
              <a:lumOff val="1098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 dirty="0"/>
            <a:t>Theory and hands-on exercises</a:t>
          </a:r>
        </a:p>
      </dsp:txBody>
      <dsp:txXfrm>
        <a:off x="3880135" y="1436038"/>
        <a:ext cx="1462211" cy="927279"/>
      </dsp:txXfrm>
    </dsp:sp>
    <dsp:sp modelId="{92BC9017-A51F-456B-9543-05F48AE5C80D}">
      <dsp:nvSpPr>
        <dsp:cNvPr id="0" name=""/>
        <dsp:cNvSpPr/>
      </dsp:nvSpPr>
      <dsp:spPr>
        <a:xfrm>
          <a:off x="4710563" y="1724173"/>
          <a:ext cx="1648974" cy="1648974"/>
        </a:xfrm>
        <a:prstGeom prst="leftCircularArrow">
          <a:avLst>
            <a:gd name="adj1" fmla="val 2991"/>
            <a:gd name="adj2" fmla="val 366609"/>
            <a:gd name="adj3" fmla="val 2142119"/>
            <a:gd name="adj4" fmla="val 9024489"/>
            <a:gd name="adj5" fmla="val 3489"/>
          </a:avLst>
        </a:prstGeom>
        <a:solidFill>
          <a:schemeClr val="accent2">
            <a:hueOff val="-1259377"/>
            <a:satOff val="34736"/>
            <a:lumOff val="1647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6D80763-6A4B-4DF5-9EBE-D6670146099B}">
      <dsp:nvSpPr>
        <dsp:cNvPr id="0" name=""/>
        <dsp:cNvSpPr/>
      </dsp:nvSpPr>
      <dsp:spPr>
        <a:xfrm>
          <a:off x="4189044" y="2392166"/>
          <a:ext cx="1351030" cy="537260"/>
        </a:xfrm>
        <a:prstGeom prst="roundRect">
          <a:avLst>
            <a:gd name="adj" fmla="val 10000"/>
          </a:avLst>
        </a:prstGeom>
        <a:solidFill>
          <a:schemeClr val="accent2">
            <a:hueOff val="-839584"/>
            <a:satOff val="23157"/>
            <a:lumOff val="1098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Virtual Classroom</a:t>
          </a:r>
        </a:p>
      </dsp:txBody>
      <dsp:txXfrm>
        <a:off x="4204780" y="2407902"/>
        <a:ext cx="1319558" cy="505788"/>
      </dsp:txXfrm>
    </dsp:sp>
    <dsp:sp modelId="{50F6759B-C864-474B-8CD1-CB28EF464A83}">
      <dsp:nvSpPr>
        <dsp:cNvPr id="0" name=""/>
        <dsp:cNvSpPr/>
      </dsp:nvSpPr>
      <dsp:spPr>
        <a:xfrm>
          <a:off x="5774900" y="1407189"/>
          <a:ext cx="1519909" cy="125360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-1259377"/>
              <a:satOff val="34736"/>
              <a:lumOff val="1647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0" kern="1200"/>
            <a:t>Project completion</a:t>
          </a:r>
          <a:endParaRPr lang="en-US" sz="1200" kern="1200"/>
        </a:p>
      </dsp:txBody>
      <dsp:txXfrm>
        <a:off x="5803749" y="1704668"/>
        <a:ext cx="1462211" cy="927279"/>
      </dsp:txXfrm>
    </dsp:sp>
    <dsp:sp modelId="{92268A40-D1F0-4AD0-BE89-FB11EBC8AA27}">
      <dsp:nvSpPr>
        <dsp:cNvPr id="0" name=""/>
        <dsp:cNvSpPr/>
      </dsp:nvSpPr>
      <dsp:spPr>
        <a:xfrm>
          <a:off x="6112657" y="1138559"/>
          <a:ext cx="1351030" cy="537260"/>
        </a:xfrm>
        <a:prstGeom prst="roundRect">
          <a:avLst>
            <a:gd name="adj" fmla="val 10000"/>
          </a:avLst>
        </a:prstGeom>
        <a:solidFill>
          <a:schemeClr val="accent2">
            <a:hueOff val="-1259377"/>
            <a:satOff val="34736"/>
            <a:lumOff val="1647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Project completion</a:t>
          </a:r>
        </a:p>
      </dsp:txBody>
      <dsp:txXfrm>
        <a:off x="6128393" y="1154295"/>
        <a:ext cx="1319558" cy="50578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17A998-5C6A-408E-BD6A-9F8DB84A31C0}">
      <dsp:nvSpPr>
        <dsp:cNvPr id="0" name=""/>
        <dsp:cNvSpPr/>
      </dsp:nvSpPr>
      <dsp:spPr>
        <a:xfrm>
          <a:off x="2048" y="6277"/>
          <a:ext cx="1119432" cy="1284697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 dirty="0"/>
            <a:t>Data Science for Business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 dirty="0"/>
            <a:t>2 hours</a:t>
          </a:r>
        </a:p>
      </dsp:txBody>
      <dsp:txXfrm>
        <a:off x="34835" y="39064"/>
        <a:ext cx="1053858" cy="1219123"/>
      </dsp:txXfrm>
    </dsp:sp>
    <dsp:sp modelId="{257B2A8B-581C-4B77-85C5-DA3795C9D11F}">
      <dsp:nvSpPr>
        <dsp:cNvPr id="0" name=""/>
        <dsp:cNvSpPr/>
      </dsp:nvSpPr>
      <dsp:spPr>
        <a:xfrm>
          <a:off x="1219991" y="509816"/>
          <a:ext cx="237319" cy="277619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/>
        </a:p>
      </dsp:txBody>
      <dsp:txXfrm>
        <a:off x="1219991" y="565340"/>
        <a:ext cx="166123" cy="166571"/>
      </dsp:txXfrm>
    </dsp:sp>
    <dsp:sp modelId="{1D86DE16-0570-4E56-AE80-CCD16F1259A9}">
      <dsp:nvSpPr>
        <dsp:cNvPr id="0" name=""/>
        <dsp:cNvSpPr/>
      </dsp:nvSpPr>
      <dsp:spPr>
        <a:xfrm>
          <a:off x="1569254" y="6277"/>
          <a:ext cx="1194826" cy="1284697"/>
        </a:xfrm>
        <a:prstGeom prst="roundRect">
          <a:avLst>
            <a:gd name="adj" fmla="val 10000"/>
          </a:avLst>
        </a:prstGeom>
        <a:solidFill>
          <a:schemeClr val="accent4">
            <a:hueOff val="-808326"/>
            <a:satOff val="-7848"/>
            <a:lumOff val="686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i="0" kern="1200" dirty="0"/>
            <a:t>Intro to Data Science in Python</a:t>
          </a:r>
          <a:endParaRPr lang="en-US" sz="1100" b="1" kern="1200" dirty="0"/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b="1" kern="1200" dirty="0">
              <a:solidFill>
                <a:schemeClr val="bg1">
                  <a:lumMod val="95000"/>
                </a:schemeClr>
              </a:solidFill>
            </a:rPr>
            <a:t>4 Hours</a:t>
          </a:r>
        </a:p>
      </dsp:txBody>
      <dsp:txXfrm>
        <a:off x="1604249" y="41272"/>
        <a:ext cx="1124836" cy="1214707"/>
      </dsp:txXfrm>
    </dsp:sp>
    <dsp:sp modelId="{D852397A-3E57-41A0-AAD4-005102C82372}">
      <dsp:nvSpPr>
        <dsp:cNvPr id="0" name=""/>
        <dsp:cNvSpPr/>
      </dsp:nvSpPr>
      <dsp:spPr>
        <a:xfrm>
          <a:off x="2862591" y="509816"/>
          <a:ext cx="237319" cy="277619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-1077767"/>
            <a:satOff val="-10464"/>
            <a:lumOff val="9151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/>
        </a:p>
      </dsp:txBody>
      <dsp:txXfrm>
        <a:off x="2862591" y="565340"/>
        <a:ext cx="166123" cy="166571"/>
      </dsp:txXfrm>
    </dsp:sp>
    <dsp:sp modelId="{5F23295F-8E2A-4A45-89AC-2C9C85FA3356}">
      <dsp:nvSpPr>
        <dsp:cNvPr id="0" name=""/>
        <dsp:cNvSpPr/>
      </dsp:nvSpPr>
      <dsp:spPr>
        <a:xfrm>
          <a:off x="3211854" y="6277"/>
          <a:ext cx="1119432" cy="1284697"/>
        </a:xfrm>
        <a:prstGeom prst="roundRect">
          <a:avLst>
            <a:gd name="adj" fmla="val 10000"/>
          </a:avLst>
        </a:prstGeom>
        <a:solidFill>
          <a:schemeClr val="accent4">
            <a:hueOff val="-1616651"/>
            <a:satOff val="-15696"/>
            <a:lumOff val="1372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i="0" kern="1200" dirty="0"/>
            <a:t>Intro to Data Visualization with Matplotlib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b="1" kern="1200" dirty="0">
              <a:solidFill>
                <a:schemeClr val="bg1">
                  <a:lumMod val="95000"/>
                </a:schemeClr>
              </a:solidFill>
            </a:rPr>
            <a:t>4 hours</a:t>
          </a:r>
        </a:p>
      </dsp:txBody>
      <dsp:txXfrm>
        <a:off x="3244641" y="39064"/>
        <a:ext cx="1053858" cy="1219123"/>
      </dsp:txXfrm>
    </dsp:sp>
    <dsp:sp modelId="{0B5035D1-38AC-4FAF-9A28-98145F0C5771}">
      <dsp:nvSpPr>
        <dsp:cNvPr id="0" name=""/>
        <dsp:cNvSpPr/>
      </dsp:nvSpPr>
      <dsp:spPr>
        <a:xfrm>
          <a:off x="4429797" y="509816"/>
          <a:ext cx="237319" cy="277619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-2155535"/>
            <a:satOff val="-20928"/>
            <a:lumOff val="18301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/>
        </a:p>
      </dsp:txBody>
      <dsp:txXfrm>
        <a:off x="4429797" y="565340"/>
        <a:ext cx="166123" cy="166571"/>
      </dsp:txXfrm>
    </dsp:sp>
    <dsp:sp modelId="{19A53A09-3A3E-4C26-B752-6484005C24CF}">
      <dsp:nvSpPr>
        <dsp:cNvPr id="0" name=""/>
        <dsp:cNvSpPr/>
      </dsp:nvSpPr>
      <dsp:spPr>
        <a:xfrm>
          <a:off x="4779060" y="6277"/>
          <a:ext cx="1119432" cy="1284697"/>
        </a:xfrm>
        <a:prstGeom prst="roundRect">
          <a:avLst>
            <a:gd name="adj" fmla="val 10000"/>
          </a:avLst>
        </a:prstGeom>
        <a:solidFill>
          <a:schemeClr val="accent4">
            <a:hueOff val="-2424977"/>
            <a:satOff val="-23544"/>
            <a:lumOff val="2058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i="0" kern="1200"/>
            <a:t>Data Manipulation with pandas</a:t>
          </a:r>
          <a:endParaRPr lang="en-US" sz="1200" kern="120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b="1" kern="1200">
              <a:solidFill>
                <a:schemeClr val="bg1">
                  <a:lumMod val="95000"/>
                </a:schemeClr>
              </a:solidFill>
            </a:rPr>
            <a:t>4 Hours</a:t>
          </a:r>
        </a:p>
      </dsp:txBody>
      <dsp:txXfrm>
        <a:off x="4811847" y="39064"/>
        <a:ext cx="1053858" cy="1219123"/>
      </dsp:txXfrm>
    </dsp:sp>
    <dsp:sp modelId="{36A3AB69-3444-4A96-9796-8E763E2AF179}">
      <dsp:nvSpPr>
        <dsp:cNvPr id="0" name=""/>
        <dsp:cNvSpPr/>
      </dsp:nvSpPr>
      <dsp:spPr>
        <a:xfrm>
          <a:off x="5997003" y="509816"/>
          <a:ext cx="237319" cy="277619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-3233302"/>
            <a:satOff val="-31392"/>
            <a:lumOff val="27452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/>
        </a:p>
      </dsp:txBody>
      <dsp:txXfrm>
        <a:off x="5997003" y="565340"/>
        <a:ext cx="166123" cy="166571"/>
      </dsp:txXfrm>
    </dsp:sp>
    <dsp:sp modelId="{13051D09-BF61-4E1B-B38C-B4D1C055B606}">
      <dsp:nvSpPr>
        <dsp:cNvPr id="0" name=""/>
        <dsp:cNvSpPr/>
      </dsp:nvSpPr>
      <dsp:spPr>
        <a:xfrm>
          <a:off x="6346266" y="6277"/>
          <a:ext cx="1119432" cy="1284697"/>
        </a:xfrm>
        <a:prstGeom prst="roundRect">
          <a:avLst>
            <a:gd name="adj" fmla="val 10000"/>
          </a:avLst>
        </a:prstGeom>
        <a:solidFill>
          <a:schemeClr val="accent4">
            <a:hueOff val="-3233302"/>
            <a:satOff val="-31392"/>
            <a:lumOff val="2745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i="0" kern="1200" dirty="0"/>
            <a:t>Analyzing Police Activity with pandas</a:t>
          </a:r>
          <a:endParaRPr lang="en-US" sz="1200" kern="1200" dirty="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b="1" kern="1200" dirty="0">
              <a:solidFill>
                <a:schemeClr val="bg1">
                  <a:lumMod val="95000"/>
                </a:schemeClr>
              </a:solidFill>
            </a:rPr>
            <a:t>4 Hours</a:t>
          </a:r>
        </a:p>
      </dsp:txBody>
      <dsp:txXfrm>
        <a:off x="6379053" y="39064"/>
        <a:ext cx="1053858" cy="121912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860" cy="468630"/>
          </a:xfrm>
          <a:prstGeom prst="rect">
            <a:avLst/>
          </a:prstGeom>
        </p:spPr>
        <p:txBody>
          <a:bodyPr vert="horz" lIns="94044" tIns="47022" rIns="94044" bIns="47022" rtlCol="0"/>
          <a:lstStyle>
            <a:lvl1pPr algn="l">
              <a:defRPr sz="1200"/>
            </a:lvl1pPr>
          </a:lstStyle>
          <a:p>
            <a:endParaRPr lang="en-US">
              <a:latin typeface="Arial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14100" y="0"/>
            <a:ext cx="3070860" cy="468630"/>
          </a:xfrm>
          <a:prstGeom prst="rect">
            <a:avLst/>
          </a:prstGeom>
        </p:spPr>
        <p:txBody>
          <a:bodyPr vert="horz" lIns="94044" tIns="47022" rIns="94044" bIns="47022" rtlCol="0"/>
          <a:lstStyle>
            <a:lvl1pPr algn="r">
              <a:defRPr sz="1200"/>
            </a:lvl1pPr>
          </a:lstStyle>
          <a:p>
            <a:fld id="{880A83A8-2E45-0548-B3C9-C096518BCF82}" type="datetimeFigureOut">
              <a:rPr lang="en-US" smtClean="0">
                <a:latin typeface="Arial" charset="0"/>
              </a:rPr>
              <a:t>1/22/2024</a:t>
            </a:fld>
            <a:endParaRPr lang="en-US">
              <a:latin typeface="Arial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902344"/>
            <a:ext cx="3070860" cy="468630"/>
          </a:xfrm>
          <a:prstGeom prst="rect">
            <a:avLst/>
          </a:prstGeom>
        </p:spPr>
        <p:txBody>
          <a:bodyPr vert="horz" lIns="94044" tIns="47022" rIns="94044" bIns="47022" rtlCol="0" anchor="b"/>
          <a:lstStyle>
            <a:lvl1pPr algn="l">
              <a:defRPr sz="1200"/>
            </a:lvl1pPr>
          </a:lstStyle>
          <a:p>
            <a:endParaRPr lang="en-US">
              <a:latin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14100" y="8902344"/>
            <a:ext cx="3070860" cy="468630"/>
          </a:xfrm>
          <a:prstGeom prst="rect">
            <a:avLst/>
          </a:prstGeom>
        </p:spPr>
        <p:txBody>
          <a:bodyPr vert="horz" lIns="94044" tIns="47022" rIns="94044" bIns="47022" rtlCol="0" anchor="b"/>
          <a:lstStyle>
            <a:lvl1pPr algn="r">
              <a:defRPr sz="1200"/>
            </a:lvl1pPr>
          </a:lstStyle>
          <a:p>
            <a:fld id="{105028E8-0986-2C48-A24F-782A77C255B6}" type="slidenum">
              <a:rPr lang="en-US" smtClean="0">
                <a:latin typeface="Arial" charset="0"/>
              </a:rPr>
              <a:t>‹#›</a:t>
            </a:fld>
            <a:endParaRPr lang="en-US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514295"/>
      </p:ext>
    </p:extLst>
  </p:cSld>
  <p:clrMap bg1="lt1" tx1="dk1" bg2="lt2" tx2="dk2" accent1="accent1" accent2="accent2" accent3="accent3" accent4="accent4" accent5="accent5" accent6="accent6" hlink="hlink" folHlink="folHlink"/>
  <p:hf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860" cy="468630"/>
          </a:xfrm>
          <a:prstGeom prst="rect">
            <a:avLst/>
          </a:prstGeom>
        </p:spPr>
        <p:txBody>
          <a:bodyPr vert="horz" lIns="94044" tIns="47022" rIns="94044" bIns="47022" rtlCol="0"/>
          <a:lstStyle>
            <a:lvl1pPr algn="l">
              <a:defRPr sz="1200" b="0" i="0">
                <a:latin typeface="Arial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14100" y="0"/>
            <a:ext cx="3070860" cy="468630"/>
          </a:xfrm>
          <a:prstGeom prst="rect">
            <a:avLst/>
          </a:prstGeom>
        </p:spPr>
        <p:txBody>
          <a:bodyPr vert="horz" lIns="94044" tIns="47022" rIns="94044" bIns="47022" rtlCol="0"/>
          <a:lstStyle>
            <a:lvl1pPr algn="r">
              <a:defRPr sz="1200" b="0" i="0">
                <a:latin typeface="Arial" charset="0"/>
              </a:defRPr>
            </a:lvl1pPr>
          </a:lstStyle>
          <a:p>
            <a:fld id="{07894DD2-0DDA-C24C-A772-AE987C62F897}" type="datetimeFigureOut">
              <a:rPr lang="en-US" smtClean="0"/>
              <a:pPr/>
              <a:t>1/22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703263"/>
            <a:ext cx="62484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4" tIns="47022" rIns="94044" bIns="4702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8660" y="4451985"/>
            <a:ext cx="5669280" cy="4217670"/>
          </a:xfrm>
          <a:prstGeom prst="rect">
            <a:avLst/>
          </a:prstGeom>
        </p:spPr>
        <p:txBody>
          <a:bodyPr vert="horz" lIns="94044" tIns="47022" rIns="94044" bIns="4702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02344"/>
            <a:ext cx="3070860" cy="468630"/>
          </a:xfrm>
          <a:prstGeom prst="rect">
            <a:avLst/>
          </a:prstGeom>
        </p:spPr>
        <p:txBody>
          <a:bodyPr vert="horz" lIns="94044" tIns="47022" rIns="94044" bIns="47022" rtlCol="0" anchor="b"/>
          <a:lstStyle>
            <a:lvl1pPr algn="l">
              <a:defRPr sz="1200" b="0" i="0">
                <a:latin typeface="Arial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14100" y="8902344"/>
            <a:ext cx="3070860" cy="468630"/>
          </a:xfrm>
          <a:prstGeom prst="rect">
            <a:avLst/>
          </a:prstGeom>
        </p:spPr>
        <p:txBody>
          <a:bodyPr vert="horz" lIns="94044" tIns="47022" rIns="94044" bIns="47022" rtlCol="0" anchor="b"/>
          <a:lstStyle>
            <a:lvl1pPr algn="r">
              <a:defRPr sz="1200" b="0" i="0">
                <a:latin typeface="Arial" charset="0"/>
              </a:defRPr>
            </a:lvl1pPr>
          </a:lstStyle>
          <a:p>
            <a:fld id="{3624DC8D-BEC2-D34A-81E1-6AC3BD4AB1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8253008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marL="0" algn="l" defTabSz="457200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defTabSz="457200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defTabSz="457200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defTabSz="457200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defTabSz="457200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tags" Target="../tags/tag50.xml"/><Relationship Id="rId18" Type="http://schemas.openxmlformats.org/officeDocument/2006/relationships/slideMaster" Target="../slideMasters/slideMaster1.xml"/><Relationship Id="rId3" Type="http://schemas.openxmlformats.org/officeDocument/2006/relationships/tags" Target="../tags/tag40.xml"/><Relationship Id="rId21" Type="http://schemas.openxmlformats.org/officeDocument/2006/relationships/image" Target="../media/image2.png"/><Relationship Id="rId7" Type="http://schemas.openxmlformats.org/officeDocument/2006/relationships/tags" Target="../tags/tag44.xml"/><Relationship Id="rId12" Type="http://schemas.openxmlformats.org/officeDocument/2006/relationships/tags" Target="../tags/tag49.xml"/><Relationship Id="rId17" Type="http://schemas.openxmlformats.org/officeDocument/2006/relationships/tags" Target="../tags/tag54.xml"/><Relationship Id="rId2" Type="http://schemas.openxmlformats.org/officeDocument/2006/relationships/tags" Target="../tags/tag39.xml"/><Relationship Id="rId16" Type="http://schemas.openxmlformats.org/officeDocument/2006/relationships/tags" Target="../tags/tag53.xml"/><Relationship Id="rId20" Type="http://schemas.openxmlformats.org/officeDocument/2006/relationships/image" Target="../media/image7.emf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11" Type="http://schemas.openxmlformats.org/officeDocument/2006/relationships/tags" Target="../tags/tag48.xml"/><Relationship Id="rId5" Type="http://schemas.openxmlformats.org/officeDocument/2006/relationships/tags" Target="../tags/tag42.xml"/><Relationship Id="rId15" Type="http://schemas.openxmlformats.org/officeDocument/2006/relationships/tags" Target="../tags/tag52.xml"/><Relationship Id="rId10" Type="http://schemas.openxmlformats.org/officeDocument/2006/relationships/tags" Target="../tags/tag47.xml"/><Relationship Id="rId19" Type="http://schemas.openxmlformats.org/officeDocument/2006/relationships/oleObject" Target="../embeddings/oleObject4.bin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4" Type="http://schemas.openxmlformats.org/officeDocument/2006/relationships/tags" Target="../tags/tag5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2" y="1217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217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1C748B5-F48F-4EEF-89B8-16F82C519DE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2" name="Picture 208" descr="Related image">
            <a:extLst>
              <a:ext uri="{FF2B5EF4-FFF2-40B4-BE49-F238E27FC236}">
                <a16:creationId xmlns:a16="http://schemas.microsoft.com/office/drawing/2014/main" id="{1C2075A6-A822-4D86-9BCF-FD60C87424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1" y="1102828"/>
            <a:ext cx="7183415" cy="40406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172A0EA9-C916-4964-A8E1-26191C215A85}"/>
              </a:ext>
            </a:extLst>
          </p:cNvPr>
          <p:cNvSpPr/>
          <p:nvPr/>
        </p:nvSpPr>
        <p:spPr bwMode="invGray">
          <a:xfrm>
            <a:off x="0" y="3864229"/>
            <a:ext cx="9144000" cy="1279271"/>
          </a:xfrm>
          <a:prstGeom prst="rect">
            <a:avLst/>
          </a:prstGeom>
          <a:solidFill>
            <a:srgbClr val="0E2961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3429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5410048-2D54-48BD-A065-B2B2FFAE4407}"/>
              </a:ext>
            </a:extLst>
          </p:cNvPr>
          <p:cNvSpPr/>
          <p:nvPr/>
        </p:nvSpPr>
        <p:spPr bwMode="invGray">
          <a:xfrm>
            <a:off x="0" y="-152400"/>
            <a:ext cx="9144000" cy="2733741"/>
          </a:xfrm>
          <a:prstGeom prst="rect">
            <a:avLst/>
          </a:prstGeom>
          <a:solidFill>
            <a:srgbClr val="0E2961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3429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422E3CC-3F3B-4FF3-8C32-92B1C3A6ED96}"/>
              </a:ext>
            </a:extLst>
          </p:cNvPr>
          <p:cNvSpPr/>
          <p:nvPr/>
        </p:nvSpPr>
        <p:spPr bwMode="invGray">
          <a:xfrm>
            <a:off x="7183414" y="26154"/>
            <a:ext cx="1960586" cy="5091193"/>
          </a:xfrm>
          <a:prstGeom prst="rect">
            <a:avLst/>
          </a:prstGeom>
          <a:solidFill>
            <a:srgbClr val="0E2961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3429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8D625E8-84E7-43FB-8AD2-DC4FB1FA9644}"/>
              </a:ext>
            </a:extLst>
          </p:cNvPr>
          <p:cNvSpPr/>
          <p:nvPr/>
        </p:nvSpPr>
        <p:spPr bwMode="white">
          <a:xfrm>
            <a:off x="4632960" y="-126246"/>
            <a:ext cx="4511040" cy="5143500"/>
          </a:xfrm>
          <a:prstGeom prst="rect">
            <a:avLst/>
          </a:prstGeom>
          <a:gradFill flip="none" rotWithShape="1">
            <a:gsLst>
              <a:gs pos="0">
                <a:srgbClr val="0E2961">
                  <a:tint val="100000"/>
                  <a:shade val="100000"/>
                  <a:satMod val="130000"/>
                  <a:alpha val="39000"/>
                </a:srgbClr>
              </a:gs>
              <a:gs pos="99000">
                <a:srgbClr val="0E2961">
                  <a:alpha val="0"/>
                </a:srgbClr>
              </a:gs>
            </a:gsLst>
            <a:lin ang="10800000" scaled="1"/>
            <a:tileRect/>
          </a:gra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3429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64121212-2236-4120-A2F0-00C45FB0C8B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white">
          <a:xfrm rot="16200000">
            <a:off x="6025937" y="2124244"/>
            <a:ext cx="4275539" cy="895013"/>
          </a:xfrm>
          <a:prstGeom prst="rect">
            <a:avLst/>
          </a:prstGeom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B74A8C93-A51A-4119-90E4-08D693FE65CD}"/>
              </a:ext>
            </a:extLst>
          </p:cNvPr>
          <p:cNvGrpSpPr/>
          <p:nvPr/>
        </p:nvGrpSpPr>
        <p:grpSpPr bwMode="ltGray">
          <a:xfrm>
            <a:off x="505478" y="4210972"/>
            <a:ext cx="627434" cy="585785"/>
            <a:chOff x="4153711" y="2181228"/>
            <a:chExt cx="836578" cy="781046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6FED935-DEF1-4537-B1C7-4FD7CEA0E2EE}"/>
                </a:ext>
              </a:extLst>
            </p:cNvPr>
            <p:cNvSpPr/>
            <p:nvPr userDrawn="1"/>
          </p:nvSpPr>
          <p:spPr bwMode="ltGray">
            <a:xfrm>
              <a:off x="4153711" y="2181228"/>
              <a:ext cx="836578" cy="781046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3429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C1E95155-AA26-4FCA-8AAF-BF28423346D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4253869" y="2262885"/>
              <a:ext cx="636262" cy="617731"/>
            </a:xfrm>
            <a:prstGeom prst="rect">
              <a:avLst/>
            </a:prstGeom>
          </p:spPr>
        </p:pic>
      </p:grpSp>
      <p:sp>
        <p:nvSpPr>
          <p:cNvPr id="13314" name="Title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505478" y="320612"/>
            <a:ext cx="6358614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x-none" sz="2400" b="1" noProof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 algn="l" defTabSz="671513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02406" algn="l"/>
              </a:tabLst>
            </a:pPr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505478" y="1259298"/>
            <a:ext cx="6358614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x-none" sz="1350" cap="none" noProof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indent="0" algn="l" defTabSz="6715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None/>
            </a:pPr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auto">
          <a:xfrm>
            <a:off x="505478" y="2036401"/>
            <a:ext cx="6358614" cy="1648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1050" baseline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28425532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velis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" name="Rectangle 6"/>
          <p:cNvSpPr/>
          <p:nvPr userDrawn="1"/>
        </p:nvSpPr>
        <p:spPr>
          <a:xfrm>
            <a:off x="4632960" y="0"/>
            <a:ext cx="4511040" cy="514350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  <a:alpha val="39000"/>
                </a:schemeClr>
              </a:gs>
              <a:gs pos="99000">
                <a:schemeClr val="accent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6176784" y="2124244"/>
            <a:ext cx="4275539" cy="895013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673971" y="427482"/>
            <a:ext cx="6509444" cy="984885"/>
          </a:xfrm>
        </p:spPr>
        <p:txBody>
          <a:bodyPr anchor="t">
            <a:normAutofit/>
          </a:bodyPr>
          <a:lstStyle>
            <a:lvl1pPr algn="l"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Presentation Titl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3971" y="1744691"/>
            <a:ext cx="6509444" cy="989051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673971" y="4016629"/>
            <a:ext cx="836578" cy="781046"/>
            <a:chOff x="4153711" y="2181228"/>
            <a:chExt cx="836578" cy="781046"/>
          </a:xfrm>
          <a:effectLst/>
        </p:grpSpPr>
        <p:sp>
          <p:nvSpPr>
            <p:cNvPr id="16" name="Rectangle 15"/>
            <p:cNvSpPr/>
            <p:nvPr userDrawn="1"/>
          </p:nvSpPr>
          <p:spPr>
            <a:xfrm>
              <a:off x="4153711" y="2181228"/>
              <a:ext cx="836578" cy="78104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53869" y="2262885"/>
              <a:ext cx="636262" cy="61773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30327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velis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" name="Rectangle 6"/>
          <p:cNvSpPr/>
          <p:nvPr userDrawn="1"/>
        </p:nvSpPr>
        <p:spPr>
          <a:xfrm>
            <a:off x="4632960" y="0"/>
            <a:ext cx="4511040" cy="514350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  <a:alpha val="39000"/>
                </a:schemeClr>
              </a:gs>
              <a:gs pos="99000">
                <a:schemeClr val="accent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673972" y="427483"/>
            <a:ext cx="6509444" cy="1210205"/>
          </a:xfrm>
        </p:spPr>
        <p:txBody>
          <a:bodyPr anchor="t">
            <a:normAutofit/>
          </a:bodyPr>
          <a:lstStyle>
            <a:lvl1pPr algn="l"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Presentation Titl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3972" y="1744691"/>
            <a:ext cx="6509444" cy="989051"/>
          </a:xfrm>
        </p:spPr>
        <p:txBody>
          <a:bodyPr lIns="0"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609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673971" y="4016629"/>
            <a:ext cx="836578" cy="781046"/>
            <a:chOff x="4153711" y="2181228"/>
            <a:chExt cx="836578" cy="781046"/>
          </a:xfrm>
        </p:grpSpPr>
        <p:sp>
          <p:nvSpPr>
            <p:cNvPr id="9" name="Rectangle 8"/>
            <p:cNvSpPr/>
            <p:nvPr userDrawn="1"/>
          </p:nvSpPr>
          <p:spPr>
            <a:xfrm>
              <a:off x="4153711" y="2181228"/>
              <a:ext cx="836578" cy="78104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pic>
          <p:nvPicPr>
            <p:cNvPr id="11" name="Picture 10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53869" y="2262885"/>
              <a:ext cx="636262" cy="617731"/>
            </a:xfrm>
            <a:prstGeom prst="rect">
              <a:avLst/>
            </a:prstGeom>
          </p:spPr>
        </p:pic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6176785" y="2124245"/>
            <a:ext cx="4275539" cy="895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292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597824"/>
            <a:ext cx="7772400" cy="1102519"/>
          </a:xfrm>
        </p:spPr>
        <p:txBody>
          <a:bodyPr>
            <a:normAutofit/>
          </a:bodyPr>
          <a:lstStyle>
            <a:lvl1pPr algn="ctr">
              <a:defRPr sz="4267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>
            <a:normAutofit/>
          </a:bodyPr>
          <a:lstStyle>
            <a:lvl1pPr marL="0" indent="0" algn="ctr">
              <a:buNone/>
              <a:defRPr sz="3733">
                <a:solidFill>
                  <a:schemeClr val="tx1">
                    <a:tint val="75000"/>
                  </a:schemeClr>
                </a:solidFill>
              </a:defRPr>
            </a:lvl1pPr>
            <a:lvl2pPr marL="609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301040" y="558550"/>
            <a:ext cx="8541927" cy="3386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51932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216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0786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12012"/>
            <a:ext cx="4038600" cy="3394472"/>
          </a:xfrm>
        </p:spPr>
        <p:txBody>
          <a:bodyPr>
            <a:normAutofit/>
          </a:bodyPr>
          <a:lstStyle>
            <a:lvl1pPr>
              <a:buClr>
                <a:schemeClr val="accent3"/>
              </a:buClr>
              <a:defRPr sz="2400"/>
            </a:lvl1pPr>
            <a:lvl2pPr>
              <a:buClr>
                <a:schemeClr val="accent3"/>
              </a:buClr>
              <a:defRPr sz="2133"/>
            </a:lvl2pPr>
            <a:lvl3pPr>
              <a:buClr>
                <a:schemeClr val="accent3"/>
              </a:buClr>
              <a:defRPr sz="1867"/>
            </a:lvl3pPr>
            <a:lvl4pPr>
              <a:buClr>
                <a:schemeClr val="accent3"/>
              </a:buClr>
              <a:defRPr sz="1600"/>
            </a:lvl4pPr>
            <a:lvl5pPr>
              <a:buClr>
                <a:schemeClr val="accent3"/>
              </a:buCl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12012"/>
            <a:ext cx="4038600" cy="3394472"/>
          </a:xfrm>
        </p:spPr>
        <p:txBody>
          <a:bodyPr>
            <a:normAutofit/>
          </a:bodyPr>
          <a:lstStyle>
            <a:lvl1pPr algn="l" defTabSz="609555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/>
              <a:defRPr lang="en-US" sz="2400" kern="12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algn="l" defTabSz="609555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/>
              <a:defRPr lang="en-US" sz="2400" kern="12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algn="l" defTabSz="609555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/>
              <a:defRPr lang="en-US" sz="2400" kern="12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algn="l" defTabSz="609555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/>
              <a:defRPr lang="en-US" sz="2400" kern="12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algn="l" defTabSz="609555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/>
              <a:defRPr lang="en-US" sz="2400" kern="12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8545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#›</a:t>
            </a:fld>
            <a:endParaRPr lang="en-US"/>
          </a:p>
        </p:txBody>
      </p:sp>
      <p:sp>
        <p:nvSpPr>
          <p:cNvPr id="4" name="Rectangle 3"/>
          <p:cNvSpPr/>
          <p:nvPr userDrawn="1"/>
        </p:nvSpPr>
        <p:spPr>
          <a:xfrm>
            <a:off x="4145938" y="4547423"/>
            <a:ext cx="942259" cy="532581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Rectangle 5"/>
          <p:cNvSpPr/>
          <p:nvPr userDrawn="1"/>
        </p:nvSpPr>
        <p:spPr>
          <a:xfrm>
            <a:off x="0" y="3466071"/>
            <a:ext cx="9144000" cy="167743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3482010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#›</a:t>
            </a:fld>
            <a:endParaRPr lang="en-US"/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9144000" cy="167743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652868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179478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3705376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A76296-2E82-471D-A613-C7194FAED18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0"/>
            <a:ext cx="158750" cy="1190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00" b="0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71513"/>
            <a:endParaRPr lang="x-none" sz="600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59DA083E-2502-41D5-8E1E-EEC993C6B7C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176148"/>
            <a:ext cx="7640769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algn="l" defTabSz="671513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02406" algn="l"/>
              </a:tabLst>
            </a:pPr>
            <a:r>
              <a:rPr lang="en-US"/>
              <a:t>Click to edit Master 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69392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9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1" y="171452"/>
            <a:ext cx="4806115" cy="4372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1" i="0" cap="all" baseline="0">
                <a:solidFill>
                  <a:srgbClr val="0F3974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178" indent="0">
              <a:buNone/>
              <a:defRPr b="1" i="0">
                <a:latin typeface="Arial" charset="0"/>
                <a:ea typeface="Arial" charset="0"/>
                <a:cs typeface="Arial" charset="0"/>
              </a:defRPr>
            </a:lvl2pPr>
            <a:lvl3pPr marL="914354" indent="0">
              <a:buNone/>
              <a:defRPr b="1" i="0">
                <a:latin typeface="Arial" charset="0"/>
                <a:ea typeface="Arial" charset="0"/>
                <a:cs typeface="Arial" charset="0"/>
              </a:defRPr>
            </a:lvl3pPr>
            <a:lvl4pPr marL="1371532" indent="0">
              <a:buNone/>
              <a:defRPr b="1" i="0">
                <a:latin typeface="Arial" charset="0"/>
                <a:ea typeface="Arial" charset="0"/>
                <a:cs typeface="Arial" charset="0"/>
              </a:defRPr>
            </a:lvl4pPr>
            <a:lvl5pPr marL="1828709" indent="0">
              <a:buNone/>
              <a:defRPr b="1" i="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Widget Toolkit</a:t>
            </a:r>
          </a:p>
        </p:txBody>
      </p:sp>
    </p:spTree>
    <p:extLst>
      <p:ext uri="{BB962C8B-B14F-4D97-AF65-F5344CB8AC3E}">
        <p14:creationId xmlns:p14="http://schemas.microsoft.com/office/powerpoint/2010/main" val="2042147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A76296-2E82-471D-A613-C7194FAED18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0"/>
            <a:ext cx="158750" cy="1190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00" b="0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71513"/>
            <a:endParaRPr lang="x-none" sz="600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59DA083E-2502-41D5-8E1E-EEC993C6B7C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176148"/>
            <a:ext cx="7640769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algn="l" defTabSz="671513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02406" algn="l"/>
              </a:tabLst>
            </a:pPr>
            <a:r>
              <a:rPr lang="en-US"/>
              <a:t>Click to edit Master 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292490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rk Background">
    <p:bg bwMode="invGray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47" imgH="346" progId="TCLayout.ActiveDocument.1">
                  <p:embed/>
                </p:oleObj>
              </mc:Choice>
              <mc:Fallback>
                <p:oleObj name="think-cell Slide" r:id="rId19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A76296-2E82-471D-A613-C7194FAED18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0"/>
            <a:ext cx="158750" cy="1190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00" b="0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71513"/>
            <a:endParaRPr lang="x-none" sz="600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53" name="Text Placeholder 2"/>
          <p:cNvSpPr>
            <a:spLocks noGrp="1"/>
          </p:cNvSpPr>
          <p:nvPr>
            <p:ph idx="1"/>
          </p:nvPr>
        </p:nvSpPr>
        <p:spPr bwMode="auto">
          <a:xfrm>
            <a:off x="1482155" y="1915809"/>
            <a:ext cx="4352544" cy="94208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sp>
        <p:nvSpPr>
          <p:cNvPr id="57" name="1. On-page tracker" hidden="1">
            <a:extLst>
              <a:ext uri="{FF2B5EF4-FFF2-40B4-BE49-F238E27FC236}">
                <a16:creationId xmlns:a16="http://schemas.microsoft.com/office/drawing/2014/main" id="{26C01CE9-F390-4819-A6E9-AD430D0CC8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1490" y="7144"/>
            <a:ext cx="36869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600" cap="all" baseline="0">
                <a:solidFill>
                  <a:schemeClr val="bg1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58" name="3. Unit of measure" hidden="1">
            <a:extLst>
              <a:ext uri="{FF2B5EF4-FFF2-40B4-BE49-F238E27FC236}">
                <a16:creationId xmlns:a16="http://schemas.microsoft.com/office/drawing/2014/main" id="{981AC2A6-25C4-48FE-8E9B-DC36C021E0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1490" y="617143"/>
            <a:ext cx="879411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200" baseline="0">
                <a:solidFill>
                  <a:schemeClr val="bg1"/>
                </a:solidFill>
                <a:latin typeface="+mn-lt"/>
                <a:ea typeface="+mn-ea"/>
              </a:rPr>
              <a:t>Subtitle</a:t>
            </a:r>
          </a:p>
        </p:txBody>
      </p:sp>
      <p:sp>
        <p:nvSpPr>
          <p:cNvPr id="59" name="4. Footnote" hidden="1">
            <a:extLst>
              <a:ext uri="{FF2B5EF4-FFF2-40B4-BE49-F238E27FC236}">
                <a16:creationId xmlns:a16="http://schemas.microsoft.com/office/drawing/2014/main" id="{9D706FF8-F8D9-4571-A114-EE9FB508425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1489" y="4827008"/>
            <a:ext cx="879411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64294" indent="-64294">
              <a:defRPr lang="x-none"/>
            </a:pPr>
            <a:r>
              <a:rPr lang="x-none" sz="600" baseline="0">
                <a:solidFill>
                  <a:schemeClr val="bg1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60" name="5. Source" hidden="1">
            <a:extLst>
              <a:ext uri="{FF2B5EF4-FFF2-40B4-BE49-F238E27FC236}">
                <a16:creationId xmlns:a16="http://schemas.microsoft.com/office/drawing/2014/main" id="{A0046A5D-9E2D-40F4-AA90-932AAB980F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1489" y="4981289"/>
            <a:ext cx="841421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88144" indent="-388144" defTabSz="671513">
              <a:tabLst>
                <a:tab pos="459581" algn="l"/>
              </a:tabLst>
            </a:pPr>
            <a:r>
              <a:rPr lang="x-none" sz="600" baseline="0">
                <a:solidFill>
                  <a:schemeClr val="bg1"/>
                </a:solidFill>
                <a:latin typeface="+mn-lt"/>
                <a:ea typeface="+mn-ea"/>
              </a:rPr>
              <a:t>SOURCE : Source</a:t>
            </a:r>
            <a:endParaRPr lang="en-US" sz="600" baseline="0">
              <a:solidFill>
                <a:schemeClr val="bg1"/>
              </a:solidFill>
              <a:latin typeface="+mn-lt"/>
              <a:ea typeface="+mn-ea"/>
            </a:endParaRPr>
          </a:p>
        </p:txBody>
      </p:sp>
      <p:grpSp>
        <p:nvGrpSpPr>
          <p:cNvPr id="61" name="ACET" hidden="1">
            <a:extLst>
              <a:ext uri="{FF2B5EF4-FFF2-40B4-BE49-F238E27FC236}">
                <a16:creationId xmlns:a16="http://schemas.microsoft.com/office/drawing/2014/main" id="{FFC1DAF6-6530-43C7-ACBB-AF0A13501875}"/>
              </a:ext>
            </a:extLst>
          </p:cNvPr>
          <p:cNvGrpSpPr>
            <a:grpSpLocks/>
          </p:cNvGrpSpPr>
          <p:nvPr/>
        </p:nvGrpSpPr>
        <p:grpSpPr bwMode="auto">
          <a:xfrm>
            <a:off x="1482156" y="1434735"/>
            <a:ext cx="4350892" cy="387524"/>
            <a:chOff x="915" y="711"/>
            <a:chExt cx="2686" cy="319"/>
          </a:xfrm>
        </p:grpSpPr>
        <p:cxnSp>
          <p:nvCxnSpPr>
            <p:cNvPr id="62" name="AutoShape 249">
              <a:extLst>
                <a:ext uri="{FF2B5EF4-FFF2-40B4-BE49-F238E27FC236}">
                  <a16:creationId xmlns:a16="http://schemas.microsoft.com/office/drawing/2014/main" id="{4B473593-B5BD-4FCF-A281-EEF1363F4928}"/>
                </a:ext>
              </a:extLst>
            </p:cNvPr>
            <p:cNvCxnSpPr>
              <a:cxnSpLocks noChangeShapeType="1"/>
              <a:stCxn id="63" idx="4"/>
              <a:endCxn id="6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3" name="AutoShape 250">
              <a:extLst>
                <a:ext uri="{FF2B5EF4-FFF2-40B4-BE49-F238E27FC236}">
                  <a16:creationId xmlns:a16="http://schemas.microsoft.com/office/drawing/2014/main" id="{DF0AAA9E-BDEA-42B8-B6D1-347824EF57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711"/>
              <a:ext cx="2686" cy="31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200" b="1" baseline="0">
                  <a:solidFill>
                    <a:schemeClr val="bg1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200" baseline="0">
                  <a:solidFill>
                    <a:schemeClr val="bg1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4" name="LegendBoxes" hidden="1">
            <a:extLst>
              <a:ext uri="{FF2B5EF4-FFF2-40B4-BE49-F238E27FC236}">
                <a16:creationId xmlns:a16="http://schemas.microsoft.com/office/drawing/2014/main" id="{061CD956-1302-4476-8692-3B1946359F4E}"/>
              </a:ext>
            </a:extLst>
          </p:cNvPr>
          <p:cNvGrpSpPr>
            <a:grpSpLocks/>
          </p:cNvGrpSpPr>
          <p:nvPr/>
        </p:nvGrpSpPr>
        <p:grpSpPr bwMode="auto">
          <a:xfrm>
            <a:off x="8345327" y="652774"/>
            <a:ext cx="575072" cy="747713"/>
            <a:chOff x="4936" y="176"/>
            <a:chExt cx="483" cy="628"/>
          </a:xfrm>
        </p:grpSpPr>
        <p:sp>
          <p:nvSpPr>
            <p:cNvPr id="65" name="Legend1">
              <a:extLst>
                <a:ext uri="{FF2B5EF4-FFF2-40B4-BE49-F238E27FC236}">
                  <a16:creationId xmlns:a16="http://schemas.microsoft.com/office/drawing/2014/main" id="{3A6144B2-CD3E-41E3-903F-6BEC610BC4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  <p:sp>
          <p:nvSpPr>
            <p:cNvPr id="66" name="LegendRectangle1">
              <a:extLst>
                <a:ext uri="{FF2B5EF4-FFF2-40B4-BE49-F238E27FC236}">
                  <a16:creationId xmlns:a16="http://schemas.microsoft.com/office/drawing/2014/main" id="{7E66CEDC-1353-49C4-9272-3F741F1E6A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5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7" name="Legend2">
              <a:extLst>
                <a:ext uri="{FF2B5EF4-FFF2-40B4-BE49-F238E27FC236}">
                  <a16:creationId xmlns:a16="http://schemas.microsoft.com/office/drawing/2014/main" id="{6A516C21-CF8E-4178-83C1-7F3D276A56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  <p:sp>
          <p:nvSpPr>
            <p:cNvPr id="68" name="LegendRectangle2">
              <a:extLst>
                <a:ext uri="{FF2B5EF4-FFF2-40B4-BE49-F238E27FC236}">
                  <a16:creationId xmlns:a16="http://schemas.microsoft.com/office/drawing/2014/main" id="{09362936-11D5-4C7F-A399-2EB26D3586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5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9" name="Legend3">
              <a:extLst>
                <a:ext uri="{FF2B5EF4-FFF2-40B4-BE49-F238E27FC236}">
                  <a16:creationId xmlns:a16="http://schemas.microsoft.com/office/drawing/2014/main" id="{361E3962-60D4-4DB2-B18D-1A64C67732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  <p:sp>
          <p:nvSpPr>
            <p:cNvPr id="70" name="LegendRectangle3">
              <a:extLst>
                <a:ext uri="{FF2B5EF4-FFF2-40B4-BE49-F238E27FC236}">
                  <a16:creationId xmlns:a16="http://schemas.microsoft.com/office/drawing/2014/main" id="{7125CF2C-D3EA-4AE0-A955-CE2638768A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5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71" name="Legend4">
              <a:extLst>
                <a:ext uri="{FF2B5EF4-FFF2-40B4-BE49-F238E27FC236}">
                  <a16:creationId xmlns:a16="http://schemas.microsoft.com/office/drawing/2014/main" id="{AD92C9B5-017C-441C-8253-9CA5514E39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  <p:sp>
          <p:nvSpPr>
            <p:cNvPr id="72" name="LegendRectangle4">
              <a:extLst>
                <a:ext uri="{FF2B5EF4-FFF2-40B4-BE49-F238E27FC236}">
                  <a16:creationId xmlns:a16="http://schemas.microsoft.com/office/drawing/2014/main" id="{32438624-C275-4A31-AC3F-95DFB72993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5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73" name="LegendLines" hidden="1">
            <a:extLst>
              <a:ext uri="{FF2B5EF4-FFF2-40B4-BE49-F238E27FC236}">
                <a16:creationId xmlns:a16="http://schemas.microsoft.com/office/drawing/2014/main" id="{0F05EEA7-F8EA-486A-835B-F0B1DC1496CC}"/>
              </a:ext>
            </a:extLst>
          </p:cNvPr>
          <p:cNvGrpSpPr>
            <a:grpSpLocks/>
          </p:cNvGrpSpPr>
          <p:nvPr/>
        </p:nvGrpSpPr>
        <p:grpSpPr bwMode="auto">
          <a:xfrm>
            <a:off x="8114343" y="652773"/>
            <a:ext cx="806054" cy="547688"/>
            <a:chOff x="4750" y="176"/>
            <a:chExt cx="677" cy="460"/>
          </a:xfrm>
        </p:grpSpPr>
        <p:sp>
          <p:nvSpPr>
            <p:cNvPr id="74" name="LineLegend1">
              <a:extLst>
                <a:ext uri="{FF2B5EF4-FFF2-40B4-BE49-F238E27FC236}">
                  <a16:creationId xmlns:a16="http://schemas.microsoft.com/office/drawing/2014/main" id="{64354D1C-4368-4281-9E96-B519C66D56B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35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75" name="LineLegend2">
              <a:extLst>
                <a:ext uri="{FF2B5EF4-FFF2-40B4-BE49-F238E27FC236}">
                  <a16:creationId xmlns:a16="http://schemas.microsoft.com/office/drawing/2014/main" id="{4575DBB0-5BB1-4D86-BDAA-E87E9F961D3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35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76" name="LineLegend3">
              <a:extLst>
                <a:ext uri="{FF2B5EF4-FFF2-40B4-BE49-F238E27FC236}">
                  <a16:creationId xmlns:a16="http://schemas.microsoft.com/office/drawing/2014/main" id="{9E823B16-F74D-4C1D-A32D-88940859F1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35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77" name="Legend1">
              <a:extLst>
                <a:ext uri="{FF2B5EF4-FFF2-40B4-BE49-F238E27FC236}">
                  <a16:creationId xmlns:a16="http://schemas.microsoft.com/office/drawing/2014/main" id="{545EF77A-86A0-45BF-8D24-F7F784F9A2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  <p:sp>
          <p:nvSpPr>
            <p:cNvPr id="78" name="Legend2">
              <a:extLst>
                <a:ext uri="{FF2B5EF4-FFF2-40B4-BE49-F238E27FC236}">
                  <a16:creationId xmlns:a16="http://schemas.microsoft.com/office/drawing/2014/main" id="{E937B124-04AC-4E31-A491-4038EF69A2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  <p:sp>
          <p:nvSpPr>
            <p:cNvPr id="79" name="Legend3">
              <a:extLst>
                <a:ext uri="{FF2B5EF4-FFF2-40B4-BE49-F238E27FC236}">
                  <a16:creationId xmlns:a16="http://schemas.microsoft.com/office/drawing/2014/main" id="{9F1FB184-3F3F-4D1A-8712-01FA218449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</p:grpSp>
      <p:grpSp>
        <p:nvGrpSpPr>
          <p:cNvPr id="80" name="LegendMoons" hidden="1">
            <a:extLst>
              <a:ext uri="{FF2B5EF4-FFF2-40B4-BE49-F238E27FC236}">
                <a16:creationId xmlns:a16="http://schemas.microsoft.com/office/drawing/2014/main" id="{C42BA100-024E-49C4-9E84-972AB2437F08}"/>
              </a:ext>
            </a:extLst>
          </p:cNvPr>
          <p:cNvGrpSpPr/>
          <p:nvPr/>
        </p:nvGrpSpPr>
        <p:grpSpPr>
          <a:xfrm>
            <a:off x="8295194" y="652773"/>
            <a:ext cx="625227" cy="979887"/>
            <a:chOff x="7875175" y="286625"/>
            <a:chExt cx="833636" cy="1306516"/>
          </a:xfrm>
        </p:grpSpPr>
        <p:grpSp>
          <p:nvGrpSpPr>
            <p:cNvPr id="81" name="MoonLegend2">
              <a:extLst>
                <a:ext uri="{FF2B5EF4-FFF2-40B4-BE49-F238E27FC236}">
                  <a16:creationId xmlns:a16="http://schemas.microsoft.com/office/drawing/2014/main" id="{5AF03DAA-D52E-41BA-B9D5-436C50FC10FC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99" name="Oval 41">
                <a:extLst>
                  <a:ext uri="{FF2B5EF4-FFF2-40B4-BE49-F238E27FC236}">
                    <a16:creationId xmlns:a16="http://schemas.microsoft.com/office/drawing/2014/main" id="{A6963349-BF3A-40F2-B8F5-6DEF53807D0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35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100" name="Arc 42">
                <a:extLst>
                  <a:ext uri="{FF2B5EF4-FFF2-40B4-BE49-F238E27FC236}">
                    <a16:creationId xmlns:a16="http://schemas.microsoft.com/office/drawing/2014/main" id="{D1524BE4-D403-4CFA-A718-46683AD79E08}"/>
                  </a:ext>
                </a:extLst>
              </p:cNvPr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35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grpSp>
          <p:nvGrpSpPr>
            <p:cNvPr id="82" name="MoonLegend4">
              <a:extLst>
                <a:ext uri="{FF2B5EF4-FFF2-40B4-BE49-F238E27FC236}">
                  <a16:creationId xmlns:a16="http://schemas.microsoft.com/office/drawing/2014/main" id="{2091F378-4E8D-44B0-8587-30B067554DE6}"/>
                </a:ext>
              </a:extLst>
            </p:cNvPr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97" name="Oval 47">
                <a:extLst>
                  <a:ext uri="{FF2B5EF4-FFF2-40B4-BE49-F238E27FC236}">
                    <a16:creationId xmlns:a16="http://schemas.microsoft.com/office/drawing/2014/main" id="{0CAE5491-4975-4AD6-8F86-AAD5393B2D89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35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98" name="Arc 48">
                <a:extLst>
                  <a:ext uri="{FF2B5EF4-FFF2-40B4-BE49-F238E27FC236}">
                    <a16:creationId xmlns:a16="http://schemas.microsoft.com/office/drawing/2014/main" id="{6EF52816-08E6-40BE-9E2A-80F7FABAA1E6}"/>
                  </a:ext>
                </a:extLst>
              </p:cNvPr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35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grpSp>
          <p:nvGrpSpPr>
            <p:cNvPr id="83" name="MoonLegend5">
              <a:extLst>
                <a:ext uri="{FF2B5EF4-FFF2-40B4-BE49-F238E27FC236}">
                  <a16:creationId xmlns:a16="http://schemas.microsoft.com/office/drawing/2014/main" id="{5415C1E5-8149-47E4-B29F-FBF153E42764}"/>
                </a:ext>
              </a:extLst>
            </p:cNvPr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5" name="Oval 50">
                <a:extLst>
                  <a:ext uri="{FF2B5EF4-FFF2-40B4-BE49-F238E27FC236}">
                    <a16:creationId xmlns:a16="http://schemas.microsoft.com/office/drawing/2014/main" id="{4D98D872-5653-4C10-B683-893C8DD8C3A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35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96" name="Oval 51">
                <a:extLst>
                  <a:ext uri="{FF2B5EF4-FFF2-40B4-BE49-F238E27FC236}">
                    <a16:creationId xmlns:a16="http://schemas.microsoft.com/office/drawing/2014/main" id="{3FA57290-6EFE-4012-9518-5141FA3E637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35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sp>
          <p:nvSpPr>
            <p:cNvPr id="84" name="Legend1">
              <a:extLst>
                <a:ext uri="{FF2B5EF4-FFF2-40B4-BE49-F238E27FC236}">
                  <a16:creationId xmlns:a16="http://schemas.microsoft.com/office/drawing/2014/main" id="{7ECB4E31-784F-481B-87BA-A66FF43106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12961" cy="184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  <p:sp>
          <p:nvSpPr>
            <p:cNvPr id="85" name="Legend2">
              <a:extLst>
                <a:ext uri="{FF2B5EF4-FFF2-40B4-BE49-F238E27FC236}">
                  <a16:creationId xmlns:a16="http://schemas.microsoft.com/office/drawing/2014/main" id="{60B11E27-E33B-4794-8847-C66C7A3DCE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4"/>
              <a:ext cx="512961" cy="184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  <p:sp>
          <p:nvSpPr>
            <p:cNvPr id="86" name="Legend3">
              <a:extLst>
                <a:ext uri="{FF2B5EF4-FFF2-40B4-BE49-F238E27FC236}">
                  <a16:creationId xmlns:a16="http://schemas.microsoft.com/office/drawing/2014/main" id="{2A7E23B4-0854-4AAE-9A65-40C8EABA16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12961" cy="184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  <p:sp>
          <p:nvSpPr>
            <p:cNvPr id="87" name="Legend4">
              <a:extLst>
                <a:ext uri="{FF2B5EF4-FFF2-40B4-BE49-F238E27FC236}">
                  <a16:creationId xmlns:a16="http://schemas.microsoft.com/office/drawing/2014/main" id="{D5430855-3C5B-4475-8731-1AC5532758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12961" cy="184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  <p:sp>
          <p:nvSpPr>
            <p:cNvPr id="88" name="Legend5">
              <a:extLst>
                <a:ext uri="{FF2B5EF4-FFF2-40B4-BE49-F238E27FC236}">
                  <a16:creationId xmlns:a16="http://schemas.microsoft.com/office/drawing/2014/main" id="{CEC80A55-041C-4ACA-AA7E-305D9D1C4B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12961" cy="184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>
                  <a:solidFill>
                    <a:schemeClr val="bg1"/>
                  </a:solidFill>
                  <a:latin typeface="+mn-lt"/>
                </a:rPr>
                <a:t>Legend</a:t>
              </a:r>
            </a:p>
          </p:txBody>
        </p:sp>
        <p:grpSp>
          <p:nvGrpSpPr>
            <p:cNvPr id="89" name="MoonLegend3">
              <a:extLst>
                <a:ext uri="{FF2B5EF4-FFF2-40B4-BE49-F238E27FC236}">
                  <a16:creationId xmlns:a16="http://schemas.microsoft.com/office/drawing/2014/main" id="{32DD3DB6-E7C5-469F-A723-8DB28E67476C}"/>
                </a:ext>
              </a:extLst>
            </p:cNvPr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3" name="Oval 47">
                <a:extLst>
                  <a:ext uri="{FF2B5EF4-FFF2-40B4-BE49-F238E27FC236}">
                    <a16:creationId xmlns:a16="http://schemas.microsoft.com/office/drawing/2014/main" id="{442A3159-0E1A-4EA6-A890-ECF3B1696EA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35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94" name="Arc 48">
                <a:extLst>
                  <a:ext uri="{FF2B5EF4-FFF2-40B4-BE49-F238E27FC236}">
                    <a16:creationId xmlns:a16="http://schemas.microsoft.com/office/drawing/2014/main" id="{DA057DAB-F6B6-463D-A54B-A27D6048F23B}"/>
                  </a:ext>
                </a:extLst>
              </p:cNvPr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35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grpSp>
          <p:nvGrpSpPr>
            <p:cNvPr id="90" name="MoonLegend1">
              <a:extLst>
                <a:ext uri="{FF2B5EF4-FFF2-40B4-BE49-F238E27FC236}">
                  <a16:creationId xmlns:a16="http://schemas.microsoft.com/office/drawing/2014/main" id="{212FCB01-C7F9-4797-AEA8-8C962D096922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1" name="Oval 41">
                <a:extLst>
                  <a:ext uri="{FF2B5EF4-FFF2-40B4-BE49-F238E27FC236}">
                    <a16:creationId xmlns:a16="http://schemas.microsoft.com/office/drawing/2014/main" id="{CA3DEA1B-320E-4F6B-AAFD-A697D3DE177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35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92" name="Arc 42">
                <a:extLst>
                  <a:ext uri="{FF2B5EF4-FFF2-40B4-BE49-F238E27FC236}">
                    <a16:creationId xmlns:a16="http://schemas.microsoft.com/office/drawing/2014/main" id="{48605A96-1529-44BD-A3B7-D70AE8D07542}"/>
                  </a:ext>
                </a:extLst>
              </p:cNvPr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35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</p:grpSp>
      <p:grpSp>
        <p:nvGrpSpPr>
          <p:cNvPr id="101" name="Sticker" hidden="1">
            <a:extLst>
              <a:ext uri="{FF2B5EF4-FFF2-40B4-BE49-F238E27FC236}">
                <a16:creationId xmlns:a16="http://schemas.microsoft.com/office/drawing/2014/main" id="{4F45F9F5-5C38-4DD0-A154-5DC3E9F26BBB}"/>
              </a:ext>
            </a:extLst>
          </p:cNvPr>
          <p:cNvGrpSpPr/>
          <p:nvPr/>
        </p:nvGrpSpPr>
        <p:grpSpPr bwMode="auto">
          <a:xfrm>
            <a:off x="8108051" y="652773"/>
            <a:ext cx="809966" cy="166199"/>
            <a:chOff x="7660820" y="285750"/>
            <a:chExt cx="1079955" cy="221598"/>
          </a:xfrm>
        </p:grpSpPr>
        <p:sp>
          <p:nvSpPr>
            <p:cNvPr id="102" name="StickerRectangle">
              <a:extLst>
                <a:ext uri="{FF2B5EF4-FFF2-40B4-BE49-F238E27FC236}">
                  <a16:creationId xmlns:a16="http://schemas.microsoft.com/office/drawing/2014/main" id="{51D65883-6A2B-45D5-BD0B-2B7FA0E524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60820" y="285750"/>
              <a:ext cx="1079955" cy="22159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71513">
                <a:buClr>
                  <a:schemeClr val="tx2"/>
                </a:buClr>
              </a:pPr>
              <a:r>
                <a:rPr lang="en-US" sz="900">
                  <a:solidFill>
                    <a:schemeClr val="bg1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3" name="AutoShape 31">
              <a:extLst>
                <a:ext uri="{FF2B5EF4-FFF2-40B4-BE49-F238E27FC236}">
                  <a16:creationId xmlns:a16="http://schemas.microsoft.com/office/drawing/2014/main" id="{16454A28-CEF4-4675-AD13-165EDF6755CF}"/>
                </a:ext>
              </a:extLst>
            </p:cNvPr>
            <p:cNvCxnSpPr>
              <a:cxnSpLocks noChangeShapeType="1"/>
              <a:stCxn id="102" idx="2"/>
              <a:endCxn id="102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4" name="AutoShape 32">
              <a:extLst>
                <a:ext uri="{FF2B5EF4-FFF2-40B4-BE49-F238E27FC236}">
                  <a16:creationId xmlns:a16="http://schemas.microsoft.com/office/drawing/2014/main" id="{329BF573-F9C6-444B-985A-1C9DB10250AD}"/>
                </a:ext>
              </a:extLst>
            </p:cNvPr>
            <p:cNvCxnSpPr>
              <a:cxnSpLocks noChangeShapeType="1"/>
              <a:stCxn id="102" idx="4"/>
              <a:endCxn id="102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05" name="Slide Number">
            <a:extLst>
              <a:ext uri="{FF2B5EF4-FFF2-40B4-BE49-F238E27FC236}">
                <a16:creationId xmlns:a16="http://schemas.microsoft.com/office/drawing/2014/main" id="{2298D800-64EB-4DDB-A04B-D891F6F67B5B}"/>
              </a:ext>
            </a:extLst>
          </p:cNvPr>
          <p:cNvSpPr txBox="1">
            <a:spLocks/>
          </p:cNvSpPr>
          <p:nvPr/>
        </p:nvSpPr>
        <p:spPr bwMode="auto">
          <a:xfrm>
            <a:off x="8821025" y="4981289"/>
            <a:ext cx="9457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600" baseline="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600" baseline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06" name="Picture 105">
            <a:extLst>
              <a:ext uri="{FF2B5EF4-FFF2-40B4-BE49-F238E27FC236}">
                <a16:creationId xmlns:a16="http://schemas.microsoft.com/office/drawing/2014/main" id="{E8B5A789-B61A-4EA1-9C97-A347F2497A45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white">
          <a:xfrm>
            <a:off x="7978420" y="191548"/>
            <a:ext cx="937183" cy="196580"/>
          </a:xfrm>
          <a:prstGeom prst="rect">
            <a:avLst/>
          </a:prstGeom>
        </p:spPr>
      </p:pic>
      <p:sp>
        <p:nvSpPr>
          <p:cNvPr id="107" name="Title">
            <a:extLst>
              <a:ext uri="{FF2B5EF4-FFF2-40B4-BE49-F238E27FC236}">
                <a16:creationId xmlns:a16="http://schemas.microsoft.com/office/drawing/2014/main" id="{C00B680E-D302-4E35-B782-D6D400D9553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176148"/>
            <a:ext cx="7640769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 algn="l" defTabSz="671513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02406" algn="l"/>
              </a:tabLst>
            </a:pPr>
            <a:r>
              <a:rPr lang="en-US"/>
              <a:t>Click to edit Master 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82791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A76296-2E82-471D-A613-C7194FAED18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0"/>
            <a:ext cx="158750" cy="1190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00" b="0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71513"/>
            <a:endParaRPr lang="x-none" sz="600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16ADEDEE-6EBD-4D9A-AEA5-6D9D2C5E34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176148"/>
            <a:ext cx="7640769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algn="l" defTabSz="671513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02406" algn="l"/>
              </a:tabLst>
            </a:pPr>
            <a:r>
              <a:rPr lang="en-US"/>
              <a:t>Click to edit Master 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0550882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91B40D-57FF-4A28-BCF5-4AB9E61DF1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B901A1-5DCE-4386-8D1D-026F9C663C6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27872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3D99C3-6070-4F02-B905-EAF076EEC8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043655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5674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ull Pa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200" y="205510"/>
            <a:ext cx="6314536" cy="435002"/>
          </a:xfrm>
          <a:prstGeom prst="rect">
            <a:avLst/>
          </a:prstGeom>
        </p:spPr>
        <p:txBody>
          <a:bodyPr/>
          <a:lstStyle>
            <a:lvl1pPr algn="l">
              <a:defRPr sz="2100" b="1" i="0" baseline="0">
                <a:solidFill>
                  <a:srgbClr val="001428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461963" y="944231"/>
            <a:ext cx="8466377" cy="3724812"/>
          </a:xfrm>
          <a:prstGeom prst="rect">
            <a:avLst/>
          </a:prstGeom>
          <a:ln>
            <a:noFill/>
          </a:ln>
        </p:spPr>
        <p:txBody>
          <a:bodyPr/>
          <a:lstStyle>
            <a:lvl1pPr marL="172641" marR="0" indent="-172641" algn="l" defTabSz="3429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Pct val="60000"/>
              <a:buFont typeface="Arial" pitchFamily="34" charset="0"/>
              <a:buChar char="■"/>
              <a:tabLst/>
              <a:defRPr lang="en-US" sz="1500" b="1" i="0" kern="1200" baseline="0" dirty="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516731" indent="-169069" algn="l" defTabSz="3429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Pct val="80000"/>
              <a:buFont typeface="Wingdings" pitchFamily="2" charset="2"/>
              <a:buChar char="§"/>
              <a:defRPr lang="en-US" sz="1200" b="0" i="0" kern="1200" baseline="0" dirty="0" smtClean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2pPr>
            <a:lvl3pPr marL="854869" indent="-169069" algn="l" defTabSz="3429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Pct val="80000"/>
              <a:buFont typeface="Wingdings" pitchFamily="2" charset="2"/>
              <a:buChar char="§"/>
              <a:defRPr lang="en-US" sz="1050" b="0" i="0" kern="1200" baseline="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3pPr>
            <a:lvl4pPr marL="1202531" indent="-169069" algn="l" defTabSz="3429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Pct val="80000"/>
              <a:buFont typeface="Wingdings" pitchFamily="2" charset="2"/>
              <a:buChar char="§"/>
              <a:defRPr lang="en-US" sz="1050" b="0" i="0" kern="1200" baseline="0" dirty="0" smtClean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4pPr>
            <a:lvl5pPr marL="1669256" indent="-128588" algn="l" defTabSz="342900" rtl="0" eaLnBrk="1" latinLnBrk="0" hangingPunct="1">
              <a:lnSpc>
                <a:spcPct val="90000"/>
              </a:lnSpc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SzPct val="80000"/>
              <a:buFont typeface="Wingdings" pitchFamily="2" charset="2"/>
              <a:buChar char="§"/>
              <a:defRPr lang="en-US" sz="1200" b="1" i="0" kern="1200" baseline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892748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velis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" name="Rectangle 6"/>
          <p:cNvSpPr/>
          <p:nvPr userDrawn="1"/>
        </p:nvSpPr>
        <p:spPr>
          <a:xfrm>
            <a:off x="4632960" y="0"/>
            <a:ext cx="4511040" cy="514350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  <a:alpha val="39000"/>
                </a:schemeClr>
              </a:gs>
              <a:gs pos="99000">
                <a:schemeClr val="accent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673972" y="427483"/>
            <a:ext cx="6509444" cy="1210205"/>
          </a:xfrm>
        </p:spPr>
        <p:txBody>
          <a:bodyPr anchor="t">
            <a:normAutofit/>
          </a:bodyPr>
          <a:lstStyle>
            <a:lvl1pPr algn="l"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Presentation Titl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3972" y="1744691"/>
            <a:ext cx="6509444" cy="989051"/>
          </a:xfrm>
        </p:spPr>
        <p:txBody>
          <a:bodyPr lIns="0"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609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673971" y="4016629"/>
            <a:ext cx="836578" cy="781046"/>
            <a:chOff x="4153711" y="2181228"/>
            <a:chExt cx="836578" cy="781046"/>
          </a:xfrm>
        </p:grpSpPr>
        <p:sp>
          <p:nvSpPr>
            <p:cNvPr id="9" name="Rectangle 8"/>
            <p:cNvSpPr/>
            <p:nvPr userDrawn="1"/>
          </p:nvSpPr>
          <p:spPr>
            <a:xfrm>
              <a:off x="4153711" y="2181228"/>
              <a:ext cx="836578" cy="78104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pic>
          <p:nvPicPr>
            <p:cNvPr id="11" name="Picture 10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53869" y="2262885"/>
              <a:ext cx="636262" cy="617731"/>
            </a:xfrm>
            <a:prstGeom prst="rect">
              <a:avLst/>
            </a:prstGeom>
          </p:spPr>
        </p:pic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6176785" y="2124245"/>
            <a:ext cx="4275539" cy="895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7111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26" Type="http://schemas.openxmlformats.org/officeDocument/2006/relationships/tags" Target="../tags/tag16.xml"/><Relationship Id="rId39" Type="http://schemas.openxmlformats.org/officeDocument/2006/relationships/tags" Target="../tags/tag29.xml"/><Relationship Id="rId21" Type="http://schemas.openxmlformats.org/officeDocument/2006/relationships/tags" Target="../tags/tag11.xml"/><Relationship Id="rId34" Type="http://schemas.openxmlformats.org/officeDocument/2006/relationships/tags" Target="../tags/tag24.xml"/><Relationship Id="rId42" Type="http://schemas.openxmlformats.org/officeDocument/2006/relationships/tags" Target="../tags/tag3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9" Type="http://schemas.openxmlformats.org/officeDocument/2006/relationships/tags" Target="../tags/tag1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24" Type="http://schemas.openxmlformats.org/officeDocument/2006/relationships/tags" Target="../tags/tag14.xml"/><Relationship Id="rId32" Type="http://schemas.openxmlformats.org/officeDocument/2006/relationships/tags" Target="../tags/tag22.xml"/><Relationship Id="rId37" Type="http://schemas.openxmlformats.org/officeDocument/2006/relationships/tags" Target="../tags/tag27.xml"/><Relationship Id="rId40" Type="http://schemas.openxmlformats.org/officeDocument/2006/relationships/tags" Target="../tags/tag3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23" Type="http://schemas.openxmlformats.org/officeDocument/2006/relationships/tags" Target="../tags/tag13.xml"/><Relationship Id="rId28" Type="http://schemas.openxmlformats.org/officeDocument/2006/relationships/tags" Target="../tags/tag18.xml"/><Relationship Id="rId36" Type="http://schemas.openxmlformats.org/officeDocument/2006/relationships/tags" Target="../tags/tag26.xml"/><Relationship Id="rId10" Type="http://schemas.openxmlformats.org/officeDocument/2006/relationships/theme" Target="../theme/theme1.xml"/><Relationship Id="rId19" Type="http://schemas.openxmlformats.org/officeDocument/2006/relationships/tags" Target="../tags/tag9.xml"/><Relationship Id="rId31" Type="http://schemas.openxmlformats.org/officeDocument/2006/relationships/tags" Target="../tags/tag2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Relationship Id="rId22" Type="http://schemas.openxmlformats.org/officeDocument/2006/relationships/tags" Target="../tags/tag12.xml"/><Relationship Id="rId27" Type="http://schemas.openxmlformats.org/officeDocument/2006/relationships/tags" Target="../tags/tag17.xml"/><Relationship Id="rId30" Type="http://schemas.openxmlformats.org/officeDocument/2006/relationships/tags" Target="../tags/tag20.xml"/><Relationship Id="rId35" Type="http://schemas.openxmlformats.org/officeDocument/2006/relationships/tags" Target="../tags/tag25.xml"/><Relationship Id="rId43" Type="http://schemas.openxmlformats.org/officeDocument/2006/relationships/tags" Target="../tags/tag3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5" Type="http://schemas.openxmlformats.org/officeDocument/2006/relationships/tags" Target="../tags/tag15.xml"/><Relationship Id="rId33" Type="http://schemas.openxmlformats.org/officeDocument/2006/relationships/tags" Target="../tags/tag23.xml"/><Relationship Id="rId38" Type="http://schemas.openxmlformats.org/officeDocument/2006/relationships/tags" Target="../tags/tag28.xml"/><Relationship Id="rId46" Type="http://schemas.openxmlformats.org/officeDocument/2006/relationships/image" Target="../media/image2.png"/><Relationship Id="rId20" Type="http://schemas.openxmlformats.org/officeDocument/2006/relationships/tags" Target="../tags/tag10.xml"/><Relationship Id="rId41" Type="http://schemas.openxmlformats.org/officeDocument/2006/relationships/tags" Target="../tags/tag3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image" Target="../media/image12.png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2"/>
            </p:custDataLst>
          </p:nvPr>
        </p:nvSpPr>
        <p:spPr bwMode="auto">
          <a:xfrm>
            <a:off x="0" y="0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00" b="0" i="0" baseline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3" name="Slide Number"/>
          <p:cNvSpPr txBox="1">
            <a:spLocks/>
          </p:cNvSpPr>
          <p:nvPr/>
        </p:nvSpPr>
        <p:spPr bwMode="auto">
          <a:xfrm>
            <a:off x="8821025" y="4981289"/>
            <a:ext cx="9457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600" baseline="0" smtClean="0">
                <a:solidFill>
                  <a:srgbClr val="808080"/>
                </a:solidFill>
                <a:latin typeface="+mn-lt"/>
              </a:rPr>
              <a:pPr algn="r"/>
              <a:t>‹#›</a:t>
            </a:fld>
            <a:endParaRPr lang="en-US" sz="600" baseline="0">
              <a:solidFill>
                <a:srgbClr val="808080"/>
              </a:solidFill>
              <a:latin typeface="+mn-lt"/>
            </a:endParaRP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6B05C748-DA5F-42F0-9DB5-E3C0616E6184}"/>
              </a:ext>
            </a:extLst>
          </p:cNvPr>
          <p:cNvCxnSpPr>
            <a:cxnSpLocks/>
          </p:cNvCxnSpPr>
          <p:nvPr/>
        </p:nvCxnSpPr>
        <p:spPr bwMode="ltGray">
          <a:xfrm flipH="1">
            <a:off x="121489" y="608648"/>
            <a:ext cx="8796528" cy="0"/>
          </a:xfrm>
          <a:prstGeom prst="line">
            <a:avLst/>
          </a:prstGeom>
          <a:ln w="9525" cmpd="sng">
            <a:solidFill>
              <a:srgbClr val="E0E0E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7" name="Picture 66">
            <a:extLst>
              <a:ext uri="{FF2B5EF4-FFF2-40B4-BE49-F238E27FC236}">
                <a16:creationId xmlns:a16="http://schemas.microsoft.com/office/drawing/2014/main" id="{69460FCC-3727-4054-8687-E1B9A63364CE}"/>
              </a:ext>
            </a:extLst>
          </p:cNvPr>
          <p:cNvPicPr>
            <a:picLocks noChangeAspect="1"/>
          </p:cNvPicPr>
          <p:nvPr/>
        </p:nvPicPr>
        <p:blipFill>
          <a:blip r:embed="rId4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7978420" y="191548"/>
            <a:ext cx="937183" cy="196580"/>
          </a:xfrm>
          <a:prstGeom prst="rect">
            <a:avLst/>
          </a:prstGeom>
        </p:spPr>
      </p:pic>
      <p:sp>
        <p:nvSpPr>
          <p:cNvPr id="19" name="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176148"/>
            <a:ext cx="7640769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algn="l" defTabSz="671513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02406" algn="l"/>
              </a:tabLst>
            </a:pPr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21490" y="7144"/>
            <a:ext cx="36869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600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21490" y="617143"/>
            <a:ext cx="879411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2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21489" y="4827008"/>
            <a:ext cx="879411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64294" indent="-64294">
              <a:defRPr lang="x-none"/>
            </a:pPr>
            <a:r>
              <a:rPr lang="x-none" sz="600" baseline="0">
                <a:solidFill>
                  <a:schemeClr val="tx1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21489" y="4981289"/>
            <a:ext cx="841421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88144" indent="-388144" defTabSz="671513">
              <a:tabLst>
                <a:tab pos="459581" algn="l"/>
              </a:tabLst>
            </a:pPr>
            <a:r>
              <a:rPr lang="x-none" sz="600" baseline="0">
                <a:solidFill>
                  <a:schemeClr val="tx1"/>
                </a:solidFill>
                <a:latin typeface="+mn-lt"/>
                <a:ea typeface="+mn-ea"/>
              </a:rPr>
              <a:t>SOURCE : Source</a:t>
            </a:r>
            <a:endParaRPr lang="en-US" sz="600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482155" y="1915809"/>
            <a:ext cx="4352544" cy="94208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1434735"/>
            <a:ext cx="4350892" cy="387524"/>
            <a:chOff x="915" y="711"/>
            <a:chExt cx="2686" cy="319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1"/>
              <a:ext cx="2686" cy="31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200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200" baseline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8" name="LegendBoxes" hidden="1">
            <a:extLst>
              <a:ext uri="{FF2B5EF4-FFF2-40B4-BE49-F238E27FC236}">
                <a16:creationId xmlns:a16="http://schemas.microsoft.com/office/drawing/2014/main" id="{E76F8D10-D107-4FB1-AC13-52385EFC2270}"/>
              </a:ext>
            </a:extLst>
          </p:cNvPr>
          <p:cNvGrpSpPr>
            <a:grpSpLocks/>
          </p:cNvGrpSpPr>
          <p:nvPr/>
        </p:nvGrpSpPr>
        <p:grpSpPr bwMode="auto">
          <a:xfrm>
            <a:off x="8345327" y="652774"/>
            <a:ext cx="575072" cy="747713"/>
            <a:chOff x="4936" y="176"/>
            <a:chExt cx="483" cy="628"/>
          </a:xfrm>
        </p:grpSpPr>
        <p:sp>
          <p:nvSpPr>
            <p:cNvPr id="69" name="Legend1">
              <a:extLst>
                <a:ext uri="{FF2B5EF4-FFF2-40B4-BE49-F238E27FC236}">
                  <a16:creationId xmlns:a16="http://schemas.microsoft.com/office/drawing/2014/main" id="{162C3CFA-59FF-493D-A8BE-D893069209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>
                  <a:latin typeface="+mn-lt"/>
                </a:rPr>
                <a:t>Legend</a:t>
              </a:r>
            </a:p>
          </p:txBody>
        </p:sp>
        <p:sp>
          <p:nvSpPr>
            <p:cNvPr id="70" name="LegendRectangle1">
              <a:extLst>
                <a:ext uri="{FF2B5EF4-FFF2-40B4-BE49-F238E27FC236}">
                  <a16:creationId xmlns:a16="http://schemas.microsoft.com/office/drawing/2014/main" id="{26E1EB86-A200-46B4-ABEC-31F08D956E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50">
                <a:latin typeface="+mn-lt"/>
              </a:endParaRPr>
            </a:p>
          </p:txBody>
        </p:sp>
        <p:sp>
          <p:nvSpPr>
            <p:cNvPr id="71" name="Legend2">
              <a:extLst>
                <a:ext uri="{FF2B5EF4-FFF2-40B4-BE49-F238E27FC236}">
                  <a16:creationId xmlns:a16="http://schemas.microsoft.com/office/drawing/2014/main" id="{FA9D368D-4210-4848-A19C-1C0AB660C8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>
                  <a:latin typeface="+mn-lt"/>
                </a:rPr>
                <a:t>Legend</a:t>
              </a:r>
            </a:p>
          </p:txBody>
        </p:sp>
        <p:sp>
          <p:nvSpPr>
            <p:cNvPr id="72" name="LegendRectangle2">
              <a:extLst>
                <a:ext uri="{FF2B5EF4-FFF2-40B4-BE49-F238E27FC236}">
                  <a16:creationId xmlns:a16="http://schemas.microsoft.com/office/drawing/2014/main" id="{9FAFCB70-825C-4B59-A437-59699D9D71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50">
                <a:latin typeface="+mn-lt"/>
              </a:endParaRPr>
            </a:p>
          </p:txBody>
        </p:sp>
        <p:sp>
          <p:nvSpPr>
            <p:cNvPr id="73" name="Legend3">
              <a:extLst>
                <a:ext uri="{FF2B5EF4-FFF2-40B4-BE49-F238E27FC236}">
                  <a16:creationId xmlns:a16="http://schemas.microsoft.com/office/drawing/2014/main" id="{9F4771F2-D777-4D16-8900-468C9774C5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>
                  <a:latin typeface="+mn-lt"/>
                </a:rPr>
                <a:t>Legend</a:t>
              </a:r>
            </a:p>
          </p:txBody>
        </p:sp>
        <p:sp>
          <p:nvSpPr>
            <p:cNvPr id="74" name="LegendRectangle3">
              <a:extLst>
                <a:ext uri="{FF2B5EF4-FFF2-40B4-BE49-F238E27FC236}">
                  <a16:creationId xmlns:a16="http://schemas.microsoft.com/office/drawing/2014/main" id="{10831D34-36FB-4ADD-81EF-37FEA2D032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50">
                <a:latin typeface="+mn-lt"/>
              </a:endParaRPr>
            </a:p>
          </p:txBody>
        </p:sp>
        <p:sp>
          <p:nvSpPr>
            <p:cNvPr id="75" name="Legend4">
              <a:extLst>
                <a:ext uri="{FF2B5EF4-FFF2-40B4-BE49-F238E27FC236}">
                  <a16:creationId xmlns:a16="http://schemas.microsoft.com/office/drawing/2014/main" id="{48946ED7-A481-4683-B695-8FE9B50901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>
                  <a:latin typeface="+mn-lt"/>
                </a:rPr>
                <a:t>Legend</a:t>
              </a:r>
            </a:p>
          </p:txBody>
        </p:sp>
        <p:sp>
          <p:nvSpPr>
            <p:cNvPr id="76" name="LegendRectangle4">
              <a:extLst>
                <a:ext uri="{FF2B5EF4-FFF2-40B4-BE49-F238E27FC236}">
                  <a16:creationId xmlns:a16="http://schemas.microsoft.com/office/drawing/2014/main" id="{2BB6F4CF-D130-464A-BD40-B5E184DDAF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50">
                <a:latin typeface="+mn-lt"/>
              </a:endParaRPr>
            </a:p>
          </p:txBody>
        </p:sp>
      </p:grpSp>
      <p:grpSp>
        <p:nvGrpSpPr>
          <p:cNvPr id="77" name="LegendLines" hidden="1">
            <a:extLst>
              <a:ext uri="{FF2B5EF4-FFF2-40B4-BE49-F238E27FC236}">
                <a16:creationId xmlns:a16="http://schemas.microsoft.com/office/drawing/2014/main" id="{F90F58A0-1FB9-485D-8EF2-3C683423B9AF}"/>
              </a:ext>
            </a:extLst>
          </p:cNvPr>
          <p:cNvGrpSpPr>
            <a:grpSpLocks/>
          </p:cNvGrpSpPr>
          <p:nvPr/>
        </p:nvGrpSpPr>
        <p:grpSpPr bwMode="auto">
          <a:xfrm>
            <a:off x="8114343" y="652773"/>
            <a:ext cx="806054" cy="547688"/>
            <a:chOff x="4750" y="176"/>
            <a:chExt cx="677" cy="460"/>
          </a:xfrm>
        </p:grpSpPr>
        <p:sp>
          <p:nvSpPr>
            <p:cNvPr id="78" name="LineLegend1">
              <a:extLst>
                <a:ext uri="{FF2B5EF4-FFF2-40B4-BE49-F238E27FC236}">
                  <a16:creationId xmlns:a16="http://schemas.microsoft.com/office/drawing/2014/main" id="{C19FE2ED-9E68-4C9F-927B-45C3AB0C80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350">
                <a:latin typeface="+mn-lt"/>
              </a:endParaRPr>
            </a:p>
          </p:txBody>
        </p:sp>
        <p:sp>
          <p:nvSpPr>
            <p:cNvPr id="79" name="LineLegend2">
              <a:extLst>
                <a:ext uri="{FF2B5EF4-FFF2-40B4-BE49-F238E27FC236}">
                  <a16:creationId xmlns:a16="http://schemas.microsoft.com/office/drawing/2014/main" id="{6B784133-7AC3-483F-9068-91F960093F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350">
                <a:latin typeface="+mn-lt"/>
              </a:endParaRPr>
            </a:p>
          </p:txBody>
        </p:sp>
        <p:sp>
          <p:nvSpPr>
            <p:cNvPr id="80" name="LineLegend3">
              <a:extLst>
                <a:ext uri="{FF2B5EF4-FFF2-40B4-BE49-F238E27FC236}">
                  <a16:creationId xmlns:a16="http://schemas.microsoft.com/office/drawing/2014/main" id="{44DA4A33-7C40-48E6-AF45-686D6D4822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350">
                <a:latin typeface="+mn-lt"/>
              </a:endParaRPr>
            </a:p>
          </p:txBody>
        </p:sp>
        <p:sp>
          <p:nvSpPr>
            <p:cNvPr id="81" name="Legend1">
              <a:extLst>
                <a:ext uri="{FF2B5EF4-FFF2-40B4-BE49-F238E27FC236}">
                  <a16:creationId xmlns:a16="http://schemas.microsoft.com/office/drawing/2014/main" id="{77856850-F8AA-4C40-8D41-6728D3C410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>
                  <a:latin typeface="+mn-lt"/>
                </a:rPr>
                <a:t>Legend</a:t>
              </a:r>
            </a:p>
          </p:txBody>
        </p:sp>
        <p:sp>
          <p:nvSpPr>
            <p:cNvPr id="82" name="Legend2">
              <a:extLst>
                <a:ext uri="{FF2B5EF4-FFF2-40B4-BE49-F238E27FC236}">
                  <a16:creationId xmlns:a16="http://schemas.microsoft.com/office/drawing/2014/main" id="{74C3C619-4192-4C1C-B043-BF4965B874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>
                  <a:latin typeface="+mn-lt"/>
                </a:rPr>
                <a:t>Legend</a:t>
              </a:r>
            </a:p>
          </p:txBody>
        </p:sp>
        <p:sp>
          <p:nvSpPr>
            <p:cNvPr id="83" name="Legend3">
              <a:extLst>
                <a:ext uri="{FF2B5EF4-FFF2-40B4-BE49-F238E27FC236}">
                  <a16:creationId xmlns:a16="http://schemas.microsoft.com/office/drawing/2014/main" id="{B99403C6-D82E-4006-9CE4-7277F0B1B4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>
                  <a:latin typeface="+mn-lt"/>
                </a:rPr>
                <a:t>Legend</a:t>
              </a:r>
            </a:p>
          </p:txBody>
        </p:sp>
      </p:grpSp>
      <p:grpSp>
        <p:nvGrpSpPr>
          <p:cNvPr id="84" name="LegendMoons" hidden="1">
            <a:extLst>
              <a:ext uri="{FF2B5EF4-FFF2-40B4-BE49-F238E27FC236}">
                <a16:creationId xmlns:a16="http://schemas.microsoft.com/office/drawing/2014/main" id="{698A4C16-8A69-4D85-88D7-172B5CDDE66E}"/>
              </a:ext>
            </a:extLst>
          </p:cNvPr>
          <p:cNvGrpSpPr/>
          <p:nvPr/>
        </p:nvGrpSpPr>
        <p:grpSpPr>
          <a:xfrm>
            <a:off x="8295194" y="652773"/>
            <a:ext cx="625227" cy="979887"/>
            <a:chOff x="7875175" y="286625"/>
            <a:chExt cx="833636" cy="1306516"/>
          </a:xfrm>
        </p:grpSpPr>
        <p:grpSp>
          <p:nvGrpSpPr>
            <p:cNvPr id="85" name="MoonLegend2">
              <a:extLst>
                <a:ext uri="{FF2B5EF4-FFF2-40B4-BE49-F238E27FC236}">
                  <a16:creationId xmlns:a16="http://schemas.microsoft.com/office/drawing/2014/main" id="{6A5C577B-4D1C-46A4-83D4-C5450E141A68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03" name="Oval 41">
                <a:extLst>
                  <a:ext uri="{FF2B5EF4-FFF2-40B4-BE49-F238E27FC236}">
                    <a16:creationId xmlns:a16="http://schemas.microsoft.com/office/drawing/2014/main" id="{109288E3-EFB2-4746-A9A5-4C1ECC6AAB6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04" name="Arc 42">
                <a:extLst>
                  <a:ext uri="{FF2B5EF4-FFF2-40B4-BE49-F238E27FC236}">
                    <a16:creationId xmlns:a16="http://schemas.microsoft.com/office/drawing/2014/main" id="{1B254806-DD5B-485E-809A-0224C40789D3}"/>
                  </a:ext>
                </a:extLst>
              </p:cNvPr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350">
                  <a:latin typeface="+mn-lt"/>
                </a:endParaRPr>
              </a:p>
            </p:txBody>
          </p:sp>
        </p:grpSp>
        <p:grpSp>
          <p:nvGrpSpPr>
            <p:cNvPr id="86" name="MoonLegend4">
              <a:extLst>
                <a:ext uri="{FF2B5EF4-FFF2-40B4-BE49-F238E27FC236}">
                  <a16:creationId xmlns:a16="http://schemas.microsoft.com/office/drawing/2014/main" id="{4C4C6692-D6F4-455F-A936-97F621EBFD0F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01" name="Oval 47">
                <a:extLst>
                  <a:ext uri="{FF2B5EF4-FFF2-40B4-BE49-F238E27FC236}">
                    <a16:creationId xmlns:a16="http://schemas.microsoft.com/office/drawing/2014/main" id="{9882C75B-DC76-4AE9-8426-72A8EE99BC9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02" name="Arc 48">
                <a:extLst>
                  <a:ext uri="{FF2B5EF4-FFF2-40B4-BE49-F238E27FC236}">
                    <a16:creationId xmlns:a16="http://schemas.microsoft.com/office/drawing/2014/main" id="{2770A732-F2FC-4801-8FAB-3E314736FA4B}"/>
                  </a:ext>
                </a:extLst>
              </p:cNvPr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350">
                  <a:latin typeface="+mn-lt"/>
                </a:endParaRPr>
              </a:p>
            </p:txBody>
          </p:sp>
        </p:grpSp>
        <p:grpSp>
          <p:nvGrpSpPr>
            <p:cNvPr id="87" name="MoonLegend5">
              <a:extLst>
                <a:ext uri="{FF2B5EF4-FFF2-40B4-BE49-F238E27FC236}">
                  <a16:creationId xmlns:a16="http://schemas.microsoft.com/office/drawing/2014/main" id="{C9341C43-AB67-4080-9527-052DE08A9D32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9" name="Oval 50">
                <a:extLst>
                  <a:ext uri="{FF2B5EF4-FFF2-40B4-BE49-F238E27FC236}">
                    <a16:creationId xmlns:a16="http://schemas.microsoft.com/office/drawing/2014/main" id="{66EB8F2A-3DDD-4008-8F46-6E71ABF995F2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00" name="Oval 51">
                <a:extLst>
                  <a:ext uri="{FF2B5EF4-FFF2-40B4-BE49-F238E27FC236}">
                    <a16:creationId xmlns:a16="http://schemas.microsoft.com/office/drawing/2014/main" id="{8D472D2B-355F-49CA-B54D-B214E0E17B4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350">
                  <a:latin typeface="+mn-lt"/>
                </a:endParaRPr>
              </a:p>
            </p:txBody>
          </p:sp>
        </p:grpSp>
        <p:sp>
          <p:nvSpPr>
            <p:cNvPr id="88" name="Legend1">
              <a:extLst>
                <a:ext uri="{FF2B5EF4-FFF2-40B4-BE49-F238E27FC236}">
                  <a16:creationId xmlns:a16="http://schemas.microsoft.com/office/drawing/2014/main" id="{2814EF13-45C9-47A4-ACED-F14FD62D16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12961" cy="184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>
                  <a:latin typeface="+mn-lt"/>
                </a:rPr>
                <a:t>Legend</a:t>
              </a:r>
            </a:p>
          </p:txBody>
        </p:sp>
        <p:sp>
          <p:nvSpPr>
            <p:cNvPr id="89" name="Legend2">
              <a:extLst>
                <a:ext uri="{FF2B5EF4-FFF2-40B4-BE49-F238E27FC236}">
                  <a16:creationId xmlns:a16="http://schemas.microsoft.com/office/drawing/2014/main" id="{39D81050-CDC3-4C5E-9B9B-4FF0BD9898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4"/>
              <a:ext cx="512961" cy="184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>
                  <a:latin typeface="+mn-lt"/>
                </a:rPr>
                <a:t>Legend</a:t>
              </a:r>
            </a:p>
          </p:txBody>
        </p:sp>
        <p:sp>
          <p:nvSpPr>
            <p:cNvPr id="90" name="Legend3">
              <a:extLst>
                <a:ext uri="{FF2B5EF4-FFF2-40B4-BE49-F238E27FC236}">
                  <a16:creationId xmlns:a16="http://schemas.microsoft.com/office/drawing/2014/main" id="{90832D27-D594-4271-AD2E-B54EBE6DF4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12961" cy="184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>
                  <a:latin typeface="+mn-lt"/>
                </a:rPr>
                <a:t>Legend</a:t>
              </a:r>
            </a:p>
          </p:txBody>
        </p:sp>
        <p:sp>
          <p:nvSpPr>
            <p:cNvPr id="91" name="Legend4">
              <a:extLst>
                <a:ext uri="{FF2B5EF4-FFF2-40B4-BE49-F238E27FC236}">
                  <a16:creationId xmlns:a16="http://schemas.microsoft.com/office/drawing/2014/main" id="{DCE5D33C-2F94-420E-B721-FE50F8C58F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12961" cy="184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>
                  <a:latin typeface="+mn-lt"/>
                </a:rPr>
                <a:t>Legend</a:t>
              </a:r>
            </a:p>
          </p:txBody>
        </p:sp>
        <p:sp>
          <p:nvSpPr>
            <p:cNvPr id="92" name="Legend5">
              <a:extLst>
                <a:ext uri="{FF2B5EF4-FFF2-40B4-BE49-F238E27FC236}">
                  <a16:creationId xmlns:a16="http://schemas.microsoft.com/office/drawing/2014/main" id="{61FAA15B-97DB-4F5D-8C43-BE8BB522B7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12961" cy="184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>
                  <a:latin typeface="+mn-lt"/>
                </a:rPr>
                <a:t>Legend</a:t>
              </a:r>
            </a:p>
          </p:txBody>
        </p:sp>
        <p:grpSp>
          <p:nvGrpSpPr>
            <p:cNvPr id="93" name="MoonLegend3">
              <a:extLst>
                <a:ext uri="{FF2B5EF4-FFF2-40B4-BE49-F238E27FC236}">
                  <a16:creationId xmlns:a16="http://schemas.microsoft.com/office/drawing/2014/main" id="{7B62688A-16E2-4BBB-9892-B354469AEA3A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7" name="Oval 47">
                <a:extLst>
                  <a:ext uri="{FF2B5EF4-FFF2-40B4-BE49-F238E27FC236}">
                    <a16:creationId xmlns:a16="http://schemas.microsoft.com/office/drawing/2014/main" id="{43033034-DCFA-4FED-B4B6-E6D750BA438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98" name="Arc 48">
                <a:extLst>
                  <a:ext uri="{FF2B5EF4-FFF2-40B4-BE49-F238E27FC236}">
                    <a16:creationId xmlns:a16="http://schemas.microsoft.com/office/drawing/2014/main" id="{3B78AD85-3A13-43AD-B3A6-27AB71604922}"/>
                  </a:ext>
                </a:extLst>
              </p:cNvPr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350">
                  <a:latin typeface="+mn-lt"/>
                </a:endParaRPr>
              </a:p>
            </p:txBody>
          </p:sp>
        </p:grpSp>
        <p:grpSp>
          <p:nvGrpSpPr>
            <p:cNvPr id="94" name="MoonLegend1">
              <a:extLst>
                <a:ext uri="{FF2B5EF4-FFF2-40B4-BE49-F238E27FC236}">
                  <a16:creationId xmlns:a16="http://schemas.microsoft.com/office/drawing/2014/main" id="{2AA9F67B-F322-464A-B204-D259481BC92E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33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5" name="Oval 41">
                <a:extLst>
                  <a:ext uri="{FF2B5EF4-FFF2-40B4-BE49-F238E27FC236}">
                    <a16:creationId xmlns:a16="http://schemas.microsoft.com/office/drawing/2014/main" id="{9A3B2275-7475-4D34-A4A9-773691959C5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96" name="Arc 42">
                <a:extLst>
                  <a:ext uri="{FF2B5EF4-FFF2-40B4-BE49-F238E27FC236}">
                    <a16:creationId xmlns:a16="http://schemas.microsoft.com/office/drawing/2014/main" id="{D6CF7435-884E-4EBB-816E-110AED3E079A}"/>
                  </a:ext>
                </a:extLst>
              </p:cNvPr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350">
                  <a:latin typeface="+mn-lt"/>
                </a:endParaRPr>
              </a:p>
            </p:txBody>
          </p:sp>
        </p:grpSp>
      </p:grpSp>
      <p:grpSp>
        <p:nvGrpSpPr>
          <p:cNvPr id="105" name="Sticker" hidden="1">
            <a:extLst>
              <a:ext uri="{FF2B5EF4-FFF2-40B4-BE49-F238E27FC236}">
                <a16:creationId xmlns:a16="http://schemas.microsoft.com/office/drawing/2014/main" id="{8F882290-E868-4A91-885B-DAED82DCE5A0}"/>
              </a:ext>
            </a:extLst>
          </p:cNvPr>
          <p:cNvGrpSpPr/>
          <p:nvPr/>
        </p:nvGrpSpPr>
        <p:grpSpPr bwMode="auto">
          <a:xfrm>
            <a:off x="8108051" y="652773"/>
            <a:ext cx="809966" cy="166199"/>
            <a:chOff x="7660820" y="285750"/>
            <a:chExt cx="1079955" cy="221598"/>
          </a:xfrm>
        </p:grpSpPr>
        <p:sp>
          <p:nvSpPr>
            <p:cNvPr id="106" name="StickerRectangle">
              <a:extLst>
                <a:ext uri="{FF2B5EF4-FFF2-40B4-BE49-F238E27FC236}">
                  <a16:creationId xmlns:a16="http://schemas.microsoft.com/office/drawing/2014/main" id="{21DF95E8-BCA1-452F-B6FA-A9498F0D2E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60820" y="285750"/>
              <a:ext cx="1079955" cy="22159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71513">
                <a:buClr>
                  <a:schemeClr val="tx2"/>
                </a:buClr>
              </a:pPr>
              <a:r>
                <a:rPr lang="en-US" sz="90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7" name="AutoShape 31">
              <a:extLst>
                <a:ext uri="{FF2B5EF4-FFF2-40B4-BE49-F238E27FC236}">
                  <a16:creationId xmlns:a16="http://schemas.microsoft.com/office/drawing/2014/main" id="{488DF150-9E09-49E6-A3E0-CCE18CC6251B}"/>
                </a:ext>
              </a:extLst>
            </p:cNvPr>
            <p:cNvCxnSpPr>
              <a:cxnSpLocks noChangeShapeType="1"/>
              <a:stCxn id="106" idx="2"/>
              <a:endCxn id="106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8" name="AutoShape 32">
              <a:extLst>
                <a:ext uri="{FF2B5EF4-FFF2-40B4-BE49-F238E27FC236}">
                  <a16:creationId xmlns:a16="http://schemas.microsoft.com/office/drawing/2014/main" id="{2E56A304-898A-4942-8D9E-661C9F3E40CB}"/>
                </a:ext>
              </a:extLst>
            </p:cNvPr>
            <p:cNvCxnSpPr>
              <a:cxnSpLocks noChangeShapeType="1"/>
              <a:stCxn id="106" idx="4"/>
              <a:endCxn id="106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57" name="Oval" hidden="1">
            <a:extLst>
              <a:ext uri="{FF2B5EF4-FFF2-40B4-BE49-F238E27FC236}">
                <a16:creationId xmlns:a16="http://schemas.microsoft.com/office/drawing/2014/main" id="{730EC2E7-A329-4727-A700-FAD405D2D9D8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762000" y="771525"/>
            <a:ext cx="1143000" cy="1143000"/>
          </a:xfrm>
          <a:prstGeom prst="ellipse">
            <a:avLst/>
          </a:prstGeom>
          <a:solidFill>
            <a:schemeClr val="accent5"/>
          </a:solidFill>
          <a:ln>
            <a:solidFill>
              <a:srgbClr val="FFFFFF"/>
            </a:solidFill>
          </a:ln>
        </p:spPr>
        <p:txBody>
          <a:bodyPr vert="horz" lIns="2858" tIns="0" rIns="2858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 dirty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algn="ctr">
              <a:buClr>
                <a:schemeClr val="bg1"/>
              </a:buClr>
            </a:pPr>
            <a:r>
              <a:rPr lang="en-US" sz="120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58" name="Rectangle" hidden="1">
            <a:extLst>
              <a:ext uri="{FF2B5EF4-FFF2-40B4-BE49-F238E27FC236}">
                <a16:creationId xmlns:a16="http://schemas.microsoft.com/office/drawing/2014/main" id="{BBBE5B31-0D96-437C-A8F5-AB52F2D4AC81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762000" y="2009775"/>
            <a:ext cx="1143000" cy="1143000"/>
          </a:xfrm>
          <a:prstGeom prst="rect">
            <a:avLst/>
          </a:prstGeom>
          <a:solidFill>
            <a:schemeClr val="accent5"/>
          </a:solidFill>
          <a:ln>
            <a:solidFill>
              <a:srgbClr val="FFFFFF"/>
            </a:solidFill>
          </a:ln>
        </p:spPr>
        <p:txBody>
          <a:bodyPr vert="horz" lIns="57150" tIns="57150" rIns="57150" bIns="5715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 dirty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20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59" name="RoundedRectangle" hidden="1">
            <a:extLst>
              <a:ext uri="{FF2B5EF4-FFF2-40B4-BE49-F238E27FC236}">
                <a16:creationId xmlns:a16="http://schemas.microsoft.com/office/drawing/2014/main" id="{44B1D8CF-C0DD-4FCB-A289-7327F75ECE8F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762000" y="3238500"/>
            <a:ext cx="1143000" cy="1143000"/>
          </a:xfrm>
          <a:prstGeom prst="roundRect">
            <a:avLst/>
          </a:prstGeom>
          <a:solidFill>
            <a:schemeClr val="accent5"/>
          </a:solidFill>
          <a:ln>
            <a:solidFill>
              <a:srgbClr val="FFFFFF"/>
            </a:solidFill>
          </a:ln>
        </p:spPr>
        <p:txBody>
          <a:bodyPr vert="horz" lIns="57150" tIns="57150" rIns="57150" bIns="5715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 dirty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20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60" name="Arrow" hidden="1">
            <a:extLst>
              <a:ext uri="{FF2B5EF4-FFF2-40B4-BE49-F238E27FC236}">
                <a16:creationId xmlns:a16="http://schemas.microsoft.com/office/drawing/2014/main" id="{671EAAE9-42A2-4BAE-8959-F2471333FFFF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2228850" y="762000"/>
            <a:ext cx="1371600" cy="685800"/>
          </a:xfrm>
          <a:prstGeom prst="rightArrow">
            <a:avLst>
              <a:gd name="adj1" fmla="val 54000"/>
              <a:gd name="adj2" fmla="val 37678"/>
            </a:avLst>
          </a:prstGeom>
          <a:solidFill>
            <a:schemeClr val="accent5"/>
          </a:solidFill>
          <a:ln>
            <a:solidFill>
              <a:srgbClr val="FFFFFF"/>
            </a:solidFill>
          </a:ln>
        </p:spPr>
        <p:txBody>
          <a:bodyPr vert="horz" lIns="57150" tIns="0" rIns="0" bIns="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 dirty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20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61" name="DirArrow" hidden="1">
            <a:extLst>
              <a:ext uri="{FF2B5EF4-FFF2-40B4-BE49-F238E27FC236}">
                <a16:creationId xmlns:a16="http://schemas.microsoft.com/office/drawing/2014/main" id="{6544EC72-FD71-4EDE-97FB-842334A95EE9}"/>
              </a:ext>
            </a:extLst>
          </p:cNvPr>
          <p:cNvSpPr>
            <a:spLocks noChangeAspect="1"/>
          </p:cNvSpPr>
          <p:nvPr>
            <p:custDataLst>
              <p:tags r:id="rId17"/>
            </p:custDataLst>
          </p:nvPr>
        </p:nvSpPr>
        <p:spPr>
          <a:xfrm rot="5400000">
            <a:off x="2228850" y="1543050"/>
            <a:ext cx="2314575" cy="257175"/>
          </a:xfrm>
          <a:prstGeom prst="triangle">
            <a:avLst>
              <a:gd name="adj" fmla="val 50000"/>
            </a:avLst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err="1">
              <a:solidFill>
                <a:schemeClr val="bg1"/>
              </a:solidFill>
            </a:endParaRPr>
          </a:p>
        </p:txBody>
      </p:sp>
      <p:grpSp>
        <p:nvGrpSpPr>
          <p:cNvPr id="62" name="Flow" hidden="1">
            <a:extLst>
              <a:ext uri="{FF2B5EF4-FFF2-40B4-BE49-F238E27FC236}">
                <a16:creationId xmlns:a16="http://schemas.microsoft.com/office/drawing/2014/main" id="{84E44CE5-D949-4AE3-AE79-58E9B769F62B}"/>
              </a:ext>
            </a:extLst>
          </p:cNvPr>
          <p:cNvGrpSpPr/>
          <p:nvPr>
            <p:custDataLst>
              <p:tags r:id="rId18"/>
            </p:custDataLst>
          </p:nvPr>
        </p:nvGrpSpPr>
        <p:grpSpPr>
          <a:xfrm>
            <a:off x="2228850" y="1895475"/>
            <a:ext cx="1371600" cy="685800"/>
            <a:chOff x="5905500" y="3124200"/>
            <a:chExt cx="1828800" cy="914400"/>
          </a:xfrm>
          <a:solidFill>
            <a:schemeClr val="accent5"/>
          </a:solidFill>
        </p:grpSpPr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D7C5F621-F890-4920-944A-1668A715D4D4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err="1">
                <a:solidFill>
                  <a:schemeClr val="bg1"/>
                </a:solidFill>
              </a:endParaRP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C0405C4D-CABE-4854-8928-03E8B9594039}"/>
                </a:ext>
              </a:extLst>
            </p:cNvPr>
            <p:cNvSpPr txBox="1"/>
            <p:nvPr>
              <p:custDataLst>
                <p:tags r:id="rId28"/>
              </p:custDataLst>
            </p:nvPr>
          </p:nvSpPr>
          <p:spPr>
            <a:xfrm>
              <a:off x="5969000" y="3187700"/>
              <a:ext cx="1524000" cy="787400"/>
            </a:xfrm>
            <a:prstGeom prst="rect">
              <a:avLst/>
            </a:prstGeom>
            <a:grpFill/>
            <a:ln/>
          </p:spPr>
          <p:txBody>
            <a:bodyPr vert="horz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600" baseline="0" dirty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600" baseline="0" dirty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600" baseline="0" dirty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600" baseline="0" dirty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 dirty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200" b="1">
                  <a:solidFill>
                    <a:schemeClr val="bg1"/>
                  </a:solidFill>
                </a:rPr>
                <a:t>Text</a:t>
              </a:r>
            </a:p>
          </p:txBody>
        </p:sp>
      </p:grpSp>
      <p:grpSp>
        <p:nvGrpSpPr>
          <p:cNvPr id="109" name="SplitFlow" hidden="1">
            <a:extLst>
              <a:ext uri="{FF2B5EF4-FFF2-40B4-BE49-F238E27FC236}">
                <a16:creationId xmlns:a16="http://schemas.microsoft.com/office/drawing/2014/main" id="{A5FC9B08-EB51-4F21-849C-8C289B5CEC03}"/>
              </a:ext>
            </a:extLst>
          </p:cNvPr>
          <p:cNvGrpSpPr/>
          <p:nvPr>
            <p:custDataLst>
              <p:tags r:id="rId19"/>
            </p:custDataLst>
          </p:nvPr>
        </p:nvGrpSpPr>
        <p:grpSpPr>
          <a:xfrm>
            <a:off x="2228850" y="2676525"/>
            <a:ext cx="1371600" cy="685800"/>
            <a:chOff x="114300" y="1270000"/>
            <a:chExt cx="1828800" cy="914400"/>
          </a:xfrm>
          <a:solidFill>
            <a:schemeClr val="accent5"/>
          </a:solidFill>
        </p:grpSpPr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2099BD63-EA7B-4DE4-A45B-8B9BB2B34342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err="1">
                <a:solidFill>
                  <a:schemeClr val="bg1"/>
                </a:solidFill>
              </a:endParaRP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E49AFFC2-4A74-4E9D-B749-2DB696AAEF23}"/>
                </a:ext>
              </a:extLst>
            </p:cNvPr>
            <p:cNvSpPr txBox="1"/>
            <p:nvPr>
              <p:custDataLst>
                <p:tags r:id="rId24"/>
              </p:custDataLst>
            </p:nvPr>
          </p:nvSpPr>
          <p:spPr>
            <a:xfrm>
              <a:off x="177800" y="1327150"/>
              <a:ext cx="1524000" cy="342900"/>
            </a:xfrm>
            <a:prstGeom prst="rect">
              <a:avLst/>
            </a:prstGeom>
            <a:grpFill/>
            <a:ln/>
          </p:spPr>
          <p:txBody>
            <a:bodyPr vert="horz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600" baseline="0" dirty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600" baseline="0" dirty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600" baseline="0" dirty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600" baseline="0" dirty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 dirty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2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FF5189FB-EF81-4AB3-A655-8253216A2A42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err="1">
                <a:solidFill>
                  <a:schemeClr val="bg1"/>
                </a:solidFill>
              </a:endParaRP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BA59EE47-E579-4B1A-BB76-0EE018CBF3A7}"/>
                </a:ext>
              </a:extLst>
            </p:cNvPr>
            <p:cNvSpPr txBox="1"/>
            <p:nvPr>
              <p:custDataLst>
                <p:tags r:id="rId26"/>
              </p:custDataLst>
            </p:nvPr>
          </p:nvSpPr>
          <p:spPr>
            <a:xfrm>
              <a:off x="177800" y="1784350"/>
              <a:ext cx="1524000" cy="342900"/>
            </a:xfrm>
            <a:prstGeom prst="rect">
              <a:avLst/>
            </a:prstGeom>
            <a:grpFill/>
            <a:ln/>
          </p:spPr>
          <p:txBody>
            <a:bodyPr vert="horz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600" baseline="0" dirty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600" baseline="0" dirty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600" baseline="0" dirty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600" baseline="0" dirty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 dirty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200" b="1">
                  <a:solidFill>
                    <a:schemeClr val="bg1"/>
                  </a:solidFill>
                </a:rPr>
                <a:t>Text</a:t>
              </a:r>
            </a:p>
          </p:txBody>
        </p:sp>
      </p:grpSp>
      <p:sp>
        <p:nvSpPr>
          <p:cNvPr id="114" name="SingleChevron" hidden="1">
            <a:extLst>
              <a:ext uri="{FF2B5EF4-FFF2-40B4-BE49-F238E27FC236}">
                <a16:creationId xmlns:a16="http://schemas.microsoft.com/office/drawing/2014/main" id="{3DB11C49-AFB5-4D0E-94C5-EB6669AAA6F6}"/>
              </a:ext>
            </a:extLst>
          </p:cNvPr>
          <p:cNvSpPr>
            <a:spLocks noChangeAspect="1"/>
          </p:cNvSpPr>
          <p:nvPr>
            <p:custDataLst>
              <p:tags r:id="rId20"/>
            </p:custDataLst>
          </p:nvPr>
        </p:nvSpPr>
        <p:spPr>
          <a:xfrm>
            <a:off x="2228850" y="3457575"/>
            <a:ext cx="500063" cy="1143000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err="1">
              <a:solidFill>
                <a:schemeClr val="bg1"/>
              </a:solidFill>
            </a:endParaRPr>
          </a:p>
        </p:txBody>
      </p:sp>
      <p:grpSp>
        <p:nvGrpSpPr>
          <p:cNvPr id="115" name="DoubleChevron" hidden="1">
            <a:extLst>
              <a:ext uri="{FF2B5EF4-FFF2-40B4-BE49-F238E27FC236}">
                <a16:creationId xmlns:a16="http://schemas.microsoft.com/office/drawing/2014/main" id="{602E7374-C87E-4BEA-B55D-2E73B850B0D4}"/>
              </a:ext>
            </a:extLst>
          </p:cNvPr>
          <p:cNvGrpSpPr>
            <a:grpSpLocks noChangeAspect="1"/>
          </p:cNvGrpSpPr>
          <p:nvPr>
            <p:custDataLst>
              <p:tags r:id="rId21"/>
            </p:custDataLst>
          </p:nvPr>
        </p:nvGrpSpPr>
        <p:grpSpPr>
          <a:xfrm>
            <a:off x="4638675" y="762000"/>
            <a:ext cx="760747" cy="1143000"/>
            <a:chOff x="1270000" y="1270000"/>
            <a:chExt cx="2409032" cy="3619500"/>
          </a:xfrm>
          <a:solidFill>
            <a:schemeClr val="accent5"/>
          </a:solidFill>
        </p:grpSpPr>
        <p:sp>
          <p:nvSpPr>
            <p:cNvPr id="116" name="Chevron1">
              <a:extLst>
                <a:ext uri="{FF2B5EF4-FFF2-40B4-BE49-F238E27FC236}">
                  <a16:creationId xmlns:a16="http://schemas.microsoft.com/office/drawing/2014/main" id="{71B6B43B-9F4F-49AD-97B1-1E417DE7B7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err="1">
                <a:solidFill>
                  <a:schemeClr val="bg1"/>
                </a:solidFill>
              </a:endParaRPr>
            </a:p>
          </p:txBody>
        </p:sp>
        <p:sp>
          <p:nvSpPr>
            <p:cNvPr id="117" name="Chevron2">
              <a:extLst>
                <a:ext uri="{FF2B5EF4-FFF2-40B4-BE49-F238E27FC236}">
                  <a16:creationId xmlns:a16="http://schemas.microsoft.com/office/drawing/2014/main" id="{198458B0-A814-4D74-9DF9-A36F222FBCD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118" name="DoubleChevron2" hidden="1">
            <a:extLst>
              <a:ext uri="{FF2B5EF4-FFF2-40B4-BE49-F238E27FC236}">
                <a16:creationId xmlns:a16="http://schemas.microsoft.com/office/drawing/2014/main" id="{A248491B-E152-4369-865C-9E91BCFFE2FF}"/>
              </a:ext>
            </a:extLst>
          </p:cNvPr>
          <p:cNvGrpSpPr>
            <a:grpSpLocks noChangeAspect="1"/>
          </p:cNvGrpSpPr>
          <p:nvPr>
            <p:custDataLst>
              <p:tags r:id="rId22"/>
            </p:custDataLst>
          </p:nvPr>
        </p:nvGrpSpPr>
        <p:grpSpPr>
          <a:xfrm>
            <a:off x="4638675" y="2000250"/>
            <a:ext cx="932197" cy="1143000"/>
            <a:chOff x="1270000" y="1270000"/>
            <a:chExt cx="2951957" cy="3619500"/>
          </a:xfrm>
          <a:solidFill>
            <a:schemeClr val="accent5"/>
          </a:solidFill>
        </p:grpSpPr>
        <p:sp>
          <p:nvSpPr>
            <p:cNvPr id="119" name="Chevron1">
              <a:extLst>
                <a:ext uri="{FF2B5EF4-FFF2-40B4-BE49-F238E27FC236}">
                  <a16:creationId xmlns:a16="http://schemas.microsoft.com/office/drawing/2014/main" id="{BFCAE6D4-B836-456B-9855-2107BC25CD8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err="1">
                <a:solidFill>
                  <a:schemeClr val="bg1"/>
                </a:solidFill>
              </a:endParaRPr>
            </a:p>
          </p:txBody>
        </p:sp>
        <p:sp>
          <p:nvSpPr>
            <p:cNvPr id="120" name="Chevron2">
              <a:extLst>
                <a:ext uri="{FF2B5EF4-FFF2-40B4-BE49-F238E27FC236}">
                  <a16:creationId xmlns:a16="http://schemas.microsoft.com/office/drawing/2014/main" id="{8C8C2EE1-58FC-4788-8A9D-CCB127AC577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err="1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80653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3" r:id="rId4"/>
    <p:sldLayoutId id="2147483694" r:id="rId5"/>
    <p:sldLayoutId id="2147483695" r:id="rId6"/>
    <p:sldLayoutId id="2147483696" r:id="rId7"/>
    <p:sldLayoutId id="2147483710" r:id="rId8"/>
    <p:sldLayoutId id="2147483712" r:id="rId9"/>
  </p:sldLayoutIdLst>
  <p:hf hdr="0" ftr="0" dt="0"/>
  <p:txStyles>
    <p:titleStyle>
      <a:lvl1pPr algn="l" defTabSz="671513" rtl="0" eaLnBrk="1" fontAlgn="base" hangingPunct="1">
        <a:spcBef>
          <a:spcPct val="0"/>
        </a:spcBef>
        <a:spcAft>
          <a:spcPct val="0"/>
        </a:spcAft>
        <a:tabLst>
          <a:tab pos="202406" algn="l"/>
        </a:tabLst>
        <a:defRPr lang="x-none" sz="1500" b="0" cap="all" baseline="0" noProof="0" dirty="0">
          <a:solidFill>
            <a:schemeClr val="tx2"/>
          </a:solidFill>
          <a:latin typeface="+mj-lt"/>
          <a:ea typeface="+mj-ea"/>
          <a:cs typeface="+mj-cs"/>
        </a:defRPr>
      </a:lvl1pPr>
      <a:lvl2pPr algn="l" defTabSz="671513" rtl="0" eaLnBrk="1" fontAlgn="base" hangingPunct="1">
        <a:spcBef>
          <a:spcPct val="0"/>
        </a:spcBef>
        <a:spcAft>
          <a:spcPct val="0"/>
        </a:spcAft>
        <a:defRPr lang="x-none" sz="1425" b="1">
          <a:solidFill>
            <a:schemeClr val="tx2"/>
          </a:solidFill>
          <a:latin typeface="Arial" charset="0"/>
        </a:defRPr>
      </a:lvl2pPr>
      <a:lvl3pPr algn="l" defTabSz="671513" rtl="0" eaLnBrk="1" fontAlgn="base" hangingPunct="1">
        <a:spcBef>
          <a:spcPct val="0"/>
        </a:spcBef>
        <a:spcAft>
          <a:spcPct val="0"/>
        </a:spcAft>
        <a:defRPr lang="x-none" sz="1425" b="1">
          <a:solidFill>
            <a:schemeClr val="tx2"/>
          </a:solidFill>
          <a:latin typeface="Arial" charset="0"/>
        </a:defRPr>
      </a:lvl3pPr>
      <a:lvl4pPr algn="l" defTabSz="671513" rtl="0" eaLnBrk="1" fontAlgn="base" hangingPunct="1">
        <a:spcBef>
          <a:spcPct val="0"/>
        </a:spcBef>
        <a:spcAft>
          <a:spcPct val="0"/>
        </a:spcAft>
        <a:defRPr lang="x-none" sz="1425" b="1">
          <a:solidFill>
            <a:schemeClr val="tx2"/>
          </a:solidFill>
          <a:latin typeface="Arial" charset="0"/>
        </a:defRPr>
      </a:lvl4pPr>
      <a:lvl5pPr algn="l" defTabSz="671513" rtl="0" eaLnBrk="1" fontAlgn="base" hangingPunct="1">
        <a:spcBef>
          <a:spcPct val="0"/>
        </a:spcBef>
        <a:spcAft>
          <a:spcPct val="0"/>
        </a:spcAft>
        <a:defRPr lang="x-none" sz="1425" b="1">
          <a:solidFill>
            <a:schemeClr val="tx2"/>
          </a:solidFill>
          <a:latin typeface="Arial" charset="0"/>
        </a:defRPr>
      </a:lvl5pPr>
      <a:lvl6pPr marL="342900" algn="l" defTabSz="671513" rtl="0" eaLnBrk="1" fontAlgn="base" hangingPunct="1">
        <a:spcBef>
          <a:spcPct val="0"/>
        </a:spcBef>
        <a:spcAft>
          <a:spcPct val="0"/>
        </a:spcAft>
        <a:defRPr lang="x-none" sz="1425" b="1">
          <a:solidFill>
            <a:schemeClr val="tx2"/>
          </a:solidFill>
          <a:latin typeface="Arial" charset="0"/>
        </a:defRPr>
      </a:lvl6pPr>
      <a:lvl7pPr marL="685800" algn="l" defTabSz="671513" rtl="0" eaLnBrk="1" fontAlgn="base" hangingPunct="1">
        <a:spcBef>
          <a:spcPct val="0"/>
        </a:spcBef>
        <a:spcAft>
          <a:spcPct val="0"/>
        </a:spcAft>
        <a:defRPr lang="x-none" sz="1425" b="1">
          <a:solidFill>
            <a:schemeClr val="tx2"/>
          </a:solidFill>
          <a:latin typeface="Arial" charset="0"/>
        </a:defRPr>
      </a:lvl7pPr>
      <a:lvl8pPr marL="1028700" algn="l" defTabSz="671513" rtl="0" eaLnBrk="1" fontAlgn="base" hangingPunct="1">
        <a:spcBef>
          <a:spcPct val="0"/>
        </a:spcBef>
        <a:spcAft>
          <a:spcPct val="0"/>
        </a:spcAft>
        <a:defRPr lang="x-none" sz="1425" b="1">
          <a:solidFill>
            <a:schemeClr val="tx2"/>
          </a:solidFill>
          <a:latin typeface="Arial" charset="0"/>
        </a:defRPr>
      </a:lvl8pPr>
      <a:lvl9pPr marL="1371600" algn="l" defTabSz="671513" rtl="0" eaLnBrk="1" fontAlgn="base" hangingPunct="1">
        <a:spcBef>
          <a:spcPct val="0"/>
        </a:spcBef>
        <a:spcAft>
          <a:spcPct val="0"/>
        </a:spcAft>
        <a:defRPr lang="x-none" sz="1425" b="1">
          <a:solidFill>
            <a:schemeClr val="tx2"/>
          </a:solidFill>
          <a:latin typeface="Arial" charset="0"/>
        </a:defRPr>
      </a:lvl9pPr>
    </p:titleStyle>
    <p:bodyStyle>
      <a:lvl1pPr marL="0" indent="0" algn="l" defTabSz="6715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45256" indent="-144066" algn="l" defTabSz="6715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96454" algn="l" defTabSz="6715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460772" indent="-116681" algn="l" defTabSz="6715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562356" indent="-97631" algn="l" defTabSz="6715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200" kern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562356" indent="-97631" algn="l" defTabSz="6715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200" baseline="0">
          <a:solidFill>
            <a:schemeClr val="tx1"/>
          </a:solidFill>
          <a:latin typeface="+mn-lt"/>
        </a:defRPr>
      </a:lvl6pPr>
      <a:lvl7pPr marL="562356" indent="-97631" algn="l" defTabSz="6715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200" baseline="0">
          <a:solidFill>
            <a:schemeClr val="tx1"/>
          </a:solidFill>
          <a:latin typeface="+mn-lt"/>
        </a:defRPr>
      </a:lvl7pPr>
      <a:lvl8pPr marL="562356" indent="-97631" algn="l" defTabSz="6715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200" baseline="0">
          <a:solidFill>
            <a:schemeClr val="tx1"/>
          </a:solidFill>
          <a:latin typeface="+mn-lt"/>
        </a:defRPr>
      </a:lvl8pPr>
      <a:lvl9pPr marL="562356" indent="-97631" algn="l" defTabSz="6715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2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685800" rtl="0" eaLnBrk="1" latinLnBrk="0" hangingPunct="1">
        <a:defRPr lang="x-none"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lang="x-none"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lang="x-none"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lang="x-none"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lang="x-none"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lang="x-none"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lang="x-none"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lang="x-none"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lang="x-none"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8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5974" y="205677"/>
            <a:ext cx="6262618" cy="35608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23820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67">
                <a:solidFill>
                  <a:schemeClr val="bg1">
                    <a:lumMod val="75000"/>
                  </a:schemeClr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D60D1EDE-7116-2443-9BDD-368CE5B3766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2" name="Date Placeholder 3"/>
          <p:cNvSpPr txBox="1">
            <a:spLocks/>
          </p:cNvSpPr>
          <p:nvPr userDrawn="1"/>
        </p:nvSpPr>
        <p:spPr>
          <a:xfrm>
            <a:off x="457200" y="4723820"/>
            <a:ext cx="2133600" cy="273844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Raleway"/>
                <a:ea typeface="+mn-ea"/>
                <a:cs typeface="Raleway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k-SK" sz="1067" b="0" i="0" kern="1200">
                <a:solidFill>
                  <a:schemeClr val="bg1">
                    <a:lumMod val="75000"/>
                  </a:schemeClr>
                </a:solidFill>
                <a:effectLst/>
                <a:latin typeface="+mn-lt"/>
                <a:ea typeface="Arial" charset="0"/>
                <a:cs typeface="Arial" charset="0"/>
              </a:rPr>
              <a:t>© 20</a:t>
            </a:r>
            <a:r>
              <a:rPr lang="en-US" sz="1067" b="0" i="0" kern="1200">
                <a:solidFill>
                  <a:schemeClr val="bg1">
                    <a:lumMod val="75000"/>
                  </a:schemeClr>
                </a:solidFill>
                <a:effectLst/>
                <a:latin typeface="+mn-lt"/>
                <a:ea typeface="Arial" charset="0"/>
                <a:cs typeface="Arial" charset="0"/>
              </a:rPr>
              <a:t>20</a:t>
            </a:r>
            <a:r>
              <a:rPr lang="sk-SK" sz="1067" b="0" i="0" kern="1200">
                <a:solidFill>
                  <a:schemeClr val="bg1">
                    <a:lumMod val="75000"/>
                  </a:schemeClr>
                </a:solidFill>
                <a:effectLst/>
                <a:latin typeface="+mn-lt"/>
                <a:ea typeface="Arial" charset="0"/>
                <a:cs typeface="Arial" charset="0"/>
              </a:rPr>
              <a:t> Novelis</a:t>
            </a:r>
            <a:endParaRPr lang="en-US" sz="1067" i="0">
              <a:solidFill>
                <a:schemeClr val="bg1">
                  <a:lumMod val="75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cxnSp>
        <p:nvCxnSpPr>
          <p:cNvPr id="37" name="Straight Connector 36"/>
          <p:cNvCxnSpPr/>
          <p:nvPr userDrawn="1"/>
        </p:nvCxnSpPr>
        <p:spPr>
          <a:xfrm flipH="1">
            <a:off x="585974" y="637014"/>
            <a:ext cx="8014585" cy="0"/>
          </a:xfrm>
          <a:prstGeom prst="line">
            <a:avLst/>
          </a:prstGeom>
          <a:ln w="9525" cmpd="sng">
            <a:solidFill>
              <a:srgbClr val="E0E0E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9781" y="252919"/>
            <a:ext cx="1249680" cy="2615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81461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</p:sldLayoutIdLst>
  <p:hf hdr="0" ftr="0" dt="0"/>
  <p:txStyles>
    <p:titleStyle>
      <a:lvl1pPr algn="l" defTabSz="609570" rtl="0" eaLnBrk="1" latinLnBrk="0" hangingPunct="1">
        <a:spcBef>
          <a:spcPct val="0"/>
        </a:spcBef>
        <a:buNone/>
        <a:defRPr sz="1867" b="1" kern="1200" cap="all" baseline="0">
          <a:solidFill>
            <a:schemeClr val="bg1"/>
          </a:solidFill>
          <a:latin typeface="+mj-lt"/>
          <a:ea typeface="Arial" charset="0"/>
          <a:cs typeface="Arial" charset="0"/>
        </a:defRPr>
      </a:lvl1pPr>
    </p:titleStyle>
    <p:bodyStyle>
      <a:lvl1pPr marL="457177" indent="-457177" algn="l" defTabSz="60957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bg1"/>
          </a:solidFill>
          <a:latin typeface="+mn-lt"/>
          <a:ea typeface="Arial" charset="0"/>
          <a:cs typeface="Arial" charset="0"/>
        </a:defRPr>
      </a:lvl1pPr>
      <a:lvl2pPr marL="990551" indent="-380982" algn="l" defTabSz="609570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bg1"/>
          </a:solidFill>
          <a:latin typeface="+mn-lt"/>
          <a:ea typeface="Arial" charset="0"/>
          <a:cs typeface="Arial" charset="0"/>
        </a:defRPr>
      </a:lvl2pPr>
      <a:lvl3pPr marL="1523923" indent="-304784" algn="l" defTabSz="60957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bg1"/>
          </a:solidFill>
          <a:latin typeface="+mn-lt"/>
          <a:ea typeface="Arial" charset="0"/>
          <a:cs typeface="Arial" charset="0"/>
        </a:defRPr>
      </a:lvl3pPr>
      <a:lvl4pPr marL="2133493" indent="-304784" algn="l" defTabSz="609570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bg1"/>
          </a:solidFill>
          <a:latin typeface="+mn-lt"/>
          <a:ea typeface="Arial" charset="0"/>
          <a:cs typeface="Arial" charset="0"/>
        </a:defRPr>
      </a:lvl4pPr>
      <a:lvl5pPr marL="2743063" indent="-304784" algn="l" defTabSz="609570" rtl="0" eaLnBrk="1" latinLnBrk="0" hangingPunct="1">
        <a:spcBef>
          <a:spcPct val="20000"/>
        </a:spcBef>
        <a:buFont typeface="Arial"/>
        <a:buChar char="»"/>
        <a:defRPr sz="2133" kern="1200">
          <a:solidFill>
            <a:schemeClr val="bg1"/>
          </a:solidFill>
          <a:latin typeface="+mn-lt"/>
          <a:ea typeface="Arial" charset="0"/>
          <a:cs typeface="Arial" charset="0"/>
        </a:defRPr>
      </a:lvl5pPr>
      <a:lvl6pPr marL="335263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1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39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6524" y="205678"/>
            <a:ext cx="6272069" cy="35608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40233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23821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67">
                <a:solidFill>
                  <a:schemeClr val="tx1">
                    <a:tint val="75000"/>
                  </a:schemeClr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D60D1EDE-7116-2443-9BDD-368CE5B3766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2" name="Date Placeholder 3"/>
          <p:cNvSpPr txBox="1">
            <a:spLocks/>
          </p:cNvSpPr>
          <p:nvPr userDrawn="1"/>
        </p:nvSpPr>
        <p:spPr>
          <a:xfrm>
            <a:off x="457200" y="4723821"/>
            <a:ext cx="2133600" cy="273844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Raleway"/>
                <a:ea typeface="+mn-ea"/>
                <a:cs typeface="Raleway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k-SK" sz="1067" b="0" i="0" kern="1200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Arial" charset="0"/>
                <a:cs typeface="Arial" charset="0"/>
              </a:rPr>
              <a:t>© Novelis</a:t>
            </a:r>
            <a:endParaRPr lang="en-US" sz="1067" i="0">
              <a:latin typeface="+mn-lt"/>
              <a:ea typeface="Arial" charset="0"/>
              <a:cs typeface="Arial" charset="0"/>
            </a:endParaRPr>
          </a:p>
        </p:txBody>
      </p:sp>
      <p:cxnSp>
        <p:nvCxnSpPr>
          <p:cNvPr id="37" name="Straight Connector 36"/>
          <p:cNvCxnSpPr/>
          <p:nvPr userDrawn="1"/>
        </p:nvCxnSpPr>
        <p:spPr>
          <a:xfrm flipH="1">
            <a:off x="576524" y="637014"/>
            <a:ext cx="8042937" cy="0"/>
          </a:xfrm>
          <a:prstGeom prst="line">
            <a:avLst/>
          </a:prstGeom>
          <a:ln w="9525" cmpd="sng">
            <a:solidFill>
              <a:srgbClr val="E0E0E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9781" y="252920"/>
            <a:ext cx="1249680" cy="2615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84350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1" r:id="rId11"/>
  </p:sldLayoutIdLst>
  <p:hf hdr="0" ftr="0" dt="0"/>
  <p:txStyles>
    <p:titleStyle>
      <a:lvl1pPr algn="l" defTabSz="609555" rtl="0" eaLnBrk="1" latinLnBrk="0" hangingPunct="1">
        <a:spcBef>
          <a:spcPct val="0"/>
        </a:spcBef>
        <a:buNone/>
        <a:defRPr sz="1867" b="1" kern="1200" cap="all" baseline="0">
          <a:solidFill>
            <a:schemeClr val="tx1"/>
          </a:solidFill>
          <a:latin typeface="+mj-lt"/>
          <a:ea typeface="Arial" charset="0"/>
          <a:cs typeface="Arial" charset="0"/>
        </a:defRPr>
      </a:lvl1pPr>
    </p:titleStyle>
    <p:bodyStyle>
      <a:lvl1pPr marL="457166" indent="-457166" algn="l" defTabSz="60955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Arial" charset="0"/>
          <a:cs typeface="Arial" charset="0"/>
        </a:defRPr>
      </a:lvl1pPr>
      <a:lvl2pPr marL="990527" indent="-380972" algn="l" defTabSz="60955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+mn-lt"/>
          <a:ea typeface="Arial" charset="0"/>
          <a:cs typeface="Arial" charset="0"/>
        </a:defRPr>
      </a:lvl2pPr>
      <a:lvl3pPr marL="1523885" indent="-304777" algn="l" defTabSz="60955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Arial" charset="0"/>
          <a:cs typeface="Arial" charset="0"/>
        </a:defRPr>
      </a:lvl3pPr>
      <a:lvl4pPr marL="2133440" indent="-304777" algn="l" defTabSz="60955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+mn-lt"/>
          <a:ea typeface="Arial" charset="0"/>
          <a:cs typeface="Arial" charset="0"/>
        </a:defRPr>
      </a:lvl4pPr>
      <a:lvl5pPr marL="2742995" indent="-304777" algn="l" defTabSz="609555" rtl="0" eaLnBrk="1" latinLnBrk="0" hangingPunct="1">
        <a:spcBef>
          <a:spcPct val="20000"/>
        </a:spcBef>
        <a:buFont typeface="Arial"/>
        <a:buChar char="»"/>
        <a:defRPr sz="2133" kern="1200">
          <a:solidFill>
            <a:schemeClr val="tx1"/>
          </a:solidFill>
          <a:latin typeface="+mn-lt"/>
          <a:ea typeface="Arial" charset="0"/>
          <a:cs typeface="Arial" charset="0"/>
        </a:defRPr>
      </a:lvl5pPr>
      <a:lvl6pPr marL="3352548" indent="-304777" algn="l" defTabSz="60955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3" indent="-304777" algn="l" defTabSz="60955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7" indent="-304777" algn="l" defTabSz="60955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7" algn="l" defTabSz="60955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09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7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6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1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app.datacamp.com/learn/courses/introduction-to-data-visualization-with-matplotlib" TargetMode="External"/><Relationship Id="rId13" Type="http://schemas.openxmlformats.org/officeDocument/2006/relationships/hyperlink" Target="http://www.datacamp.com/" TargetMode="External"/><Relationship Id="rId3" Type="http://schemas.openxmlformats.org/officeDocument/2006/relationships/diagramLayout" Target="../diagrams/layout2.xml"/><Relationship Id="rId7" Type="http://schemas.openxmlformats.org/officeDocument/2006/relationships/hyperlink" Target="https://app.datacamp.com/learn/courses/introduction-to-data-science-in-python" TargetMode="External"/><Relationship Id="rId12" Type="http://schemas.microsoft.com/office/2007/relationships/hdphoto" Target="../media/hdphoto2.wdp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2.xml"/><Relationship Id="rId11" Type="http://schemas.openxmlformats.org/officeDocument/2006/relationships/image" Target="../media/image30.png"/><Relationship Id="rId5" Type="http://schemas.openxmlformats.org/officeDocument/2006/relationships/diagramColors" Target="../diagrams/colors2.xml"/><Relationship Id="rId10" Type="http://schemas.openxmlformats.org/officeDocument/2006/relationships/hyperlink" Target="https://app.datacamp.com/learn/courses/analyzing-police-activity-with-pandas" TargetMode="External"/><Relationship Id="rId4" Type="http://schemas.openxmlformats.org/officeDocument/2006/relationships/diagramQuickStyle" Target="../diagrams/quickStyle2.xml"/><Relationship Id="rId9" Type="http://schemas.openxmlformats.org/officeDocument/2006/relationships/hyperlink" Target="https://app.datacamp.com/learn/courses/data-manipulation-with-pandas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2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://aueglbwvdapap04/daa_training/daa_intro/0002.html" TargetMode="Externa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novelis.sharepoint.com/:p:/r/sites/GlobalCitizenDataScientists/_layouts/15/Doc.aspx?sourcedoc=%7BBB88E7A8-9D11-4B9C-BCD7-4383CD160B0B%7D&amp;file=Evaluation_projects.pptx&amp;action=edit&amp;mobileredirect=true" TargetMode="External"/><Relationship Id="rId2" Type="http://schemas.microsoft.com/office/2018/10/relationships/comments" Target="../comments/modernComment_452_844AD55D.xml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aueglbwvdapap04/daa_training/daa_step1/0003.html" TargetMode="External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datacamp.com/" TargetMode="Externa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17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Relationship Id="rId6" Type="http://schemas.openxmlformats.org/officeDocument/2006/relationships/hyperlink" Target="http://www.pngall.com/checklist-png/download/45733" TargetMode="External"/><Relationship Id="rId5" Type="http://schemas.openxmlformats.org/officeDocument/2006/relationships/image" Target="../media/image16.png"/><Relationship Id="rId4" Type="http://schemas.openxmlformats.org/officeDocument/2006/relationships/hyperlink" Target="http://commons.wikimedia.org/wiki/File:Speech_bubble.svg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hyperlink" Target="https://www.wawanesa.com/us/blog/12-parking-lot-safety-tips" TargetMode="Externa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25.png"/><Relationship Id="rId12" Type="http://schemas.openxmlformats.org/officeDocument/2006/relationships/image" Target="../media/image29.sv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1.xml"/><Relationship Id="rId11" Type="http://schemas.openxmlformats.org/officeDocument/2006/relationships/image" Target="../media/image28.png"/><Relationship Id="rId5" Type="http://schemas.openxmlformats.org/officeDocument/2006/relationships/diagramColors" Target="../diagrams/colors1.xml"/><Relationship Id="rId10" Type="http://schemas.openxmlformats.org/officeDocument/2006/relationships/image" Target="../media/image27.png"/><Relationship Id="rId4" Type="http://schemas.openxmlformats.org/officeDocument/2006/relationships/diagramQuickStyle" Target="../diagrams/quickStyle1.xml"/><Relationship Id="rId9" Type="http://schemas.openxmlformats.org/officeDocument/2006/relationships/hyperlink" Target="http://www.datacamp.com/" TargetMode="Externa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en-US"/>
              <a:t>Introduction to advanced analytic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 vert="horz" lIns="0" tIns="45720" rIns="91440" bIns="45720" rtlCol="0" anchor="t">
            <a:normAutofit fontScale="92500" lnSpcReduction="10000"/>
          </a:bodyPr>
          <a:lstStyle/>
          <a:p>
            <a:r>
              <a:rPr lang="en-US">
                <a:cs typeface="Arial"/>
              </a:rPr>
              <a:t>Data Science Training Roadmap</a:t>
            </a:r>
          </a:p>
          <a:p>
            <a:r>
              <a:rPr lang="en-US">
                <a:cs typeface="Arial"/>
              </a:rPr>
              <a:t>January 2024</a:t>
            </a:r>
            <a:endParaRPr lang="en-US"/>
          </a:p>
          <a:p>
            <a:endParaRPr lang="en-US" sz="1100"/>
          </a:p>
          <a:p>
            <a:r>
              <a:rPr lang="en-US" sz="1500" b="1">
                <a:solidFill>
                  <a:srgbClr val="FF0000"/>
                </a:solidFill>
                <a:cs typeface="Arial"/>
              </a:rPr>
              <a:t>SESSION WILL BE RECORDED</a:t>
            </a:r>
            <a:endParaRPr lang="en-GB" sz="1500" b="1">
              <a:solidFill>
                <a:srgbClr val="FF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88733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EED36670-D698-478F-9746-D6834663D732}"/>
              </a:ext>
            </a:extLst>
          </p:cNvPr>
          <p:cNvSpPr/>
          <p:nvPr/>
        </p:nvSpPr>
        <p:spPr>
          <a:xfrm>
            <a:off x="135741" y="763445"/>
            <a:ext cx="8872517" cy="143913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Prerequisite coursework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10</a:t>
            </a:fld>
            <a:endParaRPr lang="en-US"/>
          </a:p>
        </p:txBody>
      </p:sp>
      <p:graphicFrame>
        <p:nvGraphicFramePr>
          <p:cNvPr id="17" name="Diagram 16">
            <a:extLst>
              <a:ext uri="{FF2B5EF4-FFF2-40B4-BE49-F238E27FC236}">
                <a16:creationId xmlns:a16="http://schemas.microsoft.com/office/drawing/2014/main" id="{B2745903-6944-492B-BBF4-6989DE0AE3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86064405"/>
              </p:ext>
            </p:extLst>
          </p:nvPr>
        </p:nvGraphicFramePr>
        <p:xfrm>
          <a:off x="1256719" y="831270"/>
          <a:ext cx="7467748" cy="12972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A3B872A7-F735-4C23-9D2E-E731B8406F9B}"/>
              </a:ext>
            </a:extLst>
          </p:cNvPr>
          <p:cNvSpPr txBox="1"/>
          <p:nvPr/>
        </p:nvSpPr>
        <p:spPr>
          <a:xfrm>
            <a:off x="266826" y="1127246"/>
            <a:ext cx="78765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/>
              <a:t>Data Camp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66835339-4D57-E7EF-A4A9-196D9C55213E}"/>
              </a:ext>
            </a:extLst>
          </p:cNvPr>
          <p:cNvSpPr txBox="1">
            <a:spLocks/>
          </p:cNvSpPr>
          <p:nvPr/>
        </p:nvSpPr>
        <p:spPr bwMode="auto">
          <a:xfrm>
            <a:off x="70077" y="2426588"/>
            <a:ext cx="5532437" cy="1857945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2641" marR="0" indent="-172641" algn="l" defTabSz="3429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Pct val="60000"/>
              <a:buFont typeface="Arial" pitchFamily="34" charset="0"/>
              <a:buChar char="■"/>
              <a:tabLst/>
              <a:defRPr lang="en-US" sz="1500" b="1" i="0" kern="1200" baseline="0" dirty="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516731" indent="-169069" algn="l" defTabSz="3429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Pct val="80000"/>
              <a:buFont typeface="Wingdings" pitchFamily="2" charset="2"/>
              <a:buChar char="§"/>
              <a:defRPr lang="en-US" sz="1200" b="0" i="0" kern="1200" baseline="0" dirty="0" smtClean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2pPr>
            <a:lvl3pPr marL="854869" indent="-169069" algn="l" defTabSz="3429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Pct val="80000"/>
              <a:buFont typeface="Wingdings" pitchFamily="2" charset="2"/>
              <a:buChar char="§"/>
              <a:defRPr lang="en-US" sz="1050" b="0" i="0" kern="1200" baseline="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3pPr>
            <a:lvl4pPr marL="1202531" indent="-169069" algn="l" defTabSz="3429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Pct val="80000"/>
              <a:buFont typeface="Wingdings" pitchFamily="2" charset="2"/>
              <a:buChar char="§"/>
              <a:defRPr lang="en-US" sz="1050" b="0" i="0" kern="1200" baseline="0" dirty="0" smtClean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4pPr>
            <a:lvl5pPr marL="1669256" indent="-128588" algn="l" defTabSz="3429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>
                  <a:lumMod val="50000"/>
                  <a:lumOff val="50000"/>
                </a:schemeClr>
              </a:buClr>
              <a:buSzPct val="80000"/>
              <a:buFont typeface="Wingdings" pitchFamily="2" charset="2"/>
              <a:buChar char="§"/>
              <a:defRPr lang="en-US" sz="1200" b="1" i="0" kern="1200" baseline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+mn-ea"/>
                <a:cs typeface="Arial"/>
              </a:defRPr>
            </a:lvl5pPr>
            <a:lvl6pPr marL="562356" indent="-97631" algn="l" defTabSz="6715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00" baseline="0">
                <a:solidFill>
                  <a:schemeClr val="tx1"/>
                </a:solidFill>
                <a:latin typeface="+mn-lt"/>
              </a:defRPr>
            </a:lvl6pPr>
            <a:lvl7pPr marL="562356" indent="-97631" algn="l" defTabSz="6715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00" baseline="0">
                <a:solidFill>
                  <a:schemeClr val="tx1"/>
                </a:solidFill>
                <a:latin typeface="+mn-lt"/>
              </a:defRPr>
            </a:lvl7pPr>
            <a:lvl8pPr marL="562356" indent="-97631" algn="l" defTabSz="6715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00" baseline="0">
                <a:solidFill>
                  <a:schemeClr val="tx1"/>
                </a:solidFill>
                <a:latin typeface="+mn-lt"/>
              </a:defRPr>
            </a:lvl8pPr>
            <a:lvl9pPr marL="562356" indent="-97631" algn="l" defTabSz="6715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72641" marR="0" lvl="0" indent="-172641" algn="l" defTabSz="3429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Pct val="60000"/>
              <a:buFont typeface="Arial" pitchFamily="34" charset="0"/>
              <a:buChar char="■"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S participants will undertake the following pre-work</a:t>
            </a:r>
          </a:p>
          <a:p>
            <a:pPr marL="516731" marR="0" lvl="1" indent="-169069" algn="l" defTabSz="3429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Pct val="80000"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hlinkClick r:id="rId7"/>
              </a:rPr>
              <a:t>https://app.datacamp.com/learn/courses/data-science-for-business</a:t>
            </a:r>
          </a:p>
          <a:p>
            <a:pPr marL="516731" marR="0" lvl="1" indent="-169069" algn="l" defTabSz="3429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Pct val="80000"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hlinkClick r:id="rId7"/>
              </a:rPr>
              <a:t>https://app.datacamp.com/learn/courses/introduction-to-data-science-in-pyth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516731" marR="0" lvl="1" indent="-169069" algn="l" defTabSz="3429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Pct val="80000"/>
              <a:buFont typeface="Wingdings" pitchFamily="2" charset="2"/>
              <a:buChar char="§"/>
              <a:tabLst/>
              <a:defRPr/>
            </a:pPr>
            <a:r>
              <a:rPr lang="en-US" dirty="0">
                <a:solidFill>
                  <a:srgbClr val="000000"/>
                </a:solidFill>
                <a:hlinkClick r:id="rId8"/>
              </a:rPr>
              <a:t>https://app.datacamp.com/learn/courses/introduction-to-data-visualization-with-matplotlib</a:t>
            </a:r>
            <a:endParaRPr lang="en-US" dirty="0">
              <a:solidFill>
                <a:srgbClr val="000000"/>
              </a:solidFill>
            </a:endParaRPr>
          </a:p>
          <a:p>
            <a:pPr marL="516731" marR="0" lvl="1" indent="-169069" algn="l" defTabSz="3429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Pct val="80000"/>
              <a:buFont typeface="Wingdings" pitchFamily="2" charset="2"/>
              <a:buChar char="§"/>
              <a:tabLst/>
              <a:defRPr/>
            </a:pPr>
            <a:r>
              <a:rPr lang="en-US" dirty="0">
                <a:solidFill>
                  <a:srgbClr val="000000"/>
                </a:solidFill>
                <a:hlinkClick r:id="rId9"/>
              </a:rPr>
              <a:t>https://app.datacamp.com/learn/courses/data-manipulation-with-pandas</a:t>
            </a:r>
            <a:endParaRPr lang="en-US" dirty="0">
              <a:solidFill>
                <a:srgbClr val="000000"/>
              </a:solidFill>
            </a:endParaRPr>
          </a:p>
          <a:p>
            <a:pPr marL="516731" marR="0" lvl="1" indent="-169069" algn="l" defTabSz="3429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Pct val="80000"/>
              <a:buFont typeface="Wingdings" pitchFamily="2" charset="2"/>
              <a:buChar char="§"/>
              <a:tabLst/>
              <a:defRPr/>
            </a:pPr>
            <a:r>
              <a:rPr lang="en-US" dirty="0">
                <a:solidFill>
                  <a:srgbClr val="000000"/>
                </a:solidFill>
                <a:hlinkClick r:id="rId10"/>
              </a:rPr>
              <a:t>https://app.datacamp.com/learn/courses/analyzing-police-activity-with-pandas</a:t>
            </a: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6D9E242F-F552-29D1-CCDC-377E2F34506C}"/>
              </a:ext>
            </a:extLst>
          </p:cNvPr>
          <p:cNvPicPr>
            <a:picLocks noChangeAspect="1"/>
          </p:cNvPicPr>
          <p:nvPr/>
        </p:nvPicPr>
        <p:blipFill>
          <a:blip r:embed="rId11">
            <a:duotone>
              <a:srgbClr val="1D428A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0593" y="2084765"/>
            <a:ext cx="1723008" cy="1672856"/>
          </a:xfrm>
          <a:prstGeom prst="rect">
            <a:avLst/>
          </a:prstGeom>
        </p:spPr>
      </p:pic>
      <p:sp>
        <p:nvSpPr>
          <p:cNvPr id="25" name="Rectangular Callout 3">
            <a:extLst>
              <a:ext uri="{FF2B5EF4-FFF2-40B4-BE49-F238E27FC236}">
                <a16:creationId xmlns:a16="http://schemas.microsoft.com/office/drawing/2014/main" id="{C42CB5F3-2D31-BD5C-D636-B37D95BDD7A3}"/>
              </a:ext>
            </a:extLst>
          </p:cNvPr>
          <p:cNvSpPr/>
          <p:nvPr/>
        </p:nvSpPr>
        <p:spPr>
          <a:xfrm>
            <a:off x="5675086" y="2873829"/>
            <a:ext cx="2344056" cy="1506226"/>
          </a:xfrm>
          <a:prstGeom prst="wedgeRectCallout">
            <a:avLst>
              <a:gd name="adj1" fmla="val 63321"/>
              <a:gd name="adj2" fmla="val -19278"/>
            </a:avLst>
          </a:prstGeom>
          <a:solidFill>
            <a:srgbClr val="1D428A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5FBC23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These are the mandatory courses selected as pre-requisites, once finalized you can move forward to the next level: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5FBC23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rtual Classroom Training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5FBC23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!”</a:t>
            </a:r>
            <a:endParaRPr kumimoji="0" lang="en-GB" sz="1200" b="0" i="0" u="none" strike="noStrike" kern="0" cap="none" spc="0" normalizeH="0" baseline="0" noProof="0">
              <a:ln>
                <a:noFill/>
              </a:ln>
              <a:solidFill>
                <a:srgbClr val="5FBC23">
                  <a:lumMod val="60000"/>
                  <a:lumOff val="4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DD33E5A-05E9-533D-2B57-F7780B347266}"/>
              </a:ext>
            </a:extLst>
          </p:cNvPr>
          <p:cNvSpPr txBox="1"/>
          <p:nvPr/>
        </p:nvSpPr>
        <p:spPr>
          <a:xfrm>
            <a:off x="135741" y="4616099"/>
            <a:ext cx="35349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camp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s used per self-learning / e-Courses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3"/>
              </a:rPr>
              <a:t>www.datacamp.com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38852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415" y="128477"/>
            <a:ext cx="6314536" cy="435002"/>
          </a:xfrm>
        </p:spPr>
        <p:txBody>
          <a:bodyPr/>
          <a:lstStyle/>
          <a:p>
            <a:r>
              <a:rPr lang="en-US"/>
              <a:t>Virtual classroom training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285389" y="772420"/>
            <a:ext cx="8466377" cy="4453527"/>
          </a:xfrm>
        </p:spPr>
        <p:txBody>
          <a:bodyPr vert="horz" lIns="0" tIns="0" rIns="0" bIns="0" rtlCol="0" anchor="t">
            <a:spAutoFit/>
          </a:bodyPr>
          <a:lstStyle/>
          <a:p>
            <a:pPr marL="172085" indent="-172085"/>
            <a:r>
              <a:rPr lang="en-US" sz="1600" b="0" dirty="0"/>
              <a:t>Please note that all pre-work needs to be completed (</a:t>
            </a:r>
            <a:r>
              <a:rPr lang="en-US" sz="1600" b="0" dirty="0" err="1"/>
              <a:t>DataCamp</a:t>
            </a:r>
            <a:r>
              <a:rPr lang="en-US" sz="1600" b="0" dirty="0"/>
              <a:t> will be checked!) to move onto next phase</a:t>
            </a:r>
            <a:endParaRPr lang="en-US" dirty="0"/>
          </a:p>
          <a:p>
            <a:pPr marL="172085" indent="-172085"/>
            <a:endParaRPr lang="en-US" sz="1600" b="0" dirty="0"/>
          </a:p>
          <a:p>
            <a:pPr marL="172085" indent="-172085"/>
            <a:r>
              <a:rPr lang="en-US" sz="1600" b="0" dirty="0"/>
              <a:t>A self-assessment survey will be sent out to all of the participants that have completed all the pre-work (e-learning courses)</a:t>
            </a:r>
          </a:p>
          <a:p>
            <a:pPr marL="172085" indent="-172085"/>
            <a:endParaRPr lang="en-US" sz="1600" b="0" dirty="0"/>
          </a:p>
          <a:p>
            <a:pPr marL="172085" indent="-172085"/>
            <a:r>
              <a:rPr lang="en-US" sz="1600" b="0" dirty="0"/>
              <a:t>The evaluation of this self-assessment will help us to get the final list of people to participate on the next phase: Virtual Classroom training sessions</a:t>
            </a:r>
          </a:p>
          <a:p>
            <a:pPr marL="172085" indent="-172085"/>
            <a:endParaRPr lang="en-US" sz="1600" b="0" dirty="0"/>
          </a:p>
          <a:p>
            <a:pPr marL="172085" indent="-172085"/>
            <a:r>
              <a:rPr lang="en-US" sz="1600" b="0" dirty="0"/>
              <a:t>Weekly office hours will be held (bring your questions to the team)</a:t>
            </a:r>
          </a:p>
          <a:p>
            <a:pPr marL="172085" indent="-172085"/>
            <a:endParaRPr lang="en-US" sz="1600" b="0" dirty="0"/>
          </a:p>
          <a:p>
            <a:pPr marL="172085" indent="-172085"/>
            <a:endParaRPr lang="en-US" sz="1600" b="0" dirty="0"/>
          </a:p>
          <a:p>
            <a:pPr marL="0" indent="0">
              <a:buNone/>
            </a:pPr>
            <a:r>
              <a:rPr lang="en-US" sz="1600" dirty="0"/>
              <a:t>VCT Duration:</a:t>
            </a:r>
          </a:p>
          <a:p>
            <a:pPr marL="0" indent="0">
              <a:buNone/>
            </a:pPr>
            <a:endParaRPr lang="en-US" sz="1000" b="0" dirty="0"/>
          </a:p>
          <a:p>
            <a:pPr marL="0" indent="0">
              <a:buNone/>
            </a:pPr>
            <a:r>
              <a:rPr lang="en-US" sz="1600" b="0" dirty="0"/>
              <a:t>7 Weeks / Total investment of hours during this period of time are is ~ 40 - 48 hours; 26 – 30 hours additional if completing optional homework assignments</a:t>
            </a:r>
          </a:p>
          <a:p>
            <a:pPr marL="0" indent="0">
              <a:buNone/>
            </a:pPr>
            <a:endParaRPr lang="en-GB" sz="1600" b="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8267B6B-1D14-4CAA-9FC2-586805D313F6}"/>
              </a:ext>
            </a:extLst>
          </p:cNvPr>
          <p:cNvPicPr>
            <a:picLocks noChangeAspect="1"/>
          </p:cNvPicPr>
          <p:nvPr/>
        </p:nvPicPr>
        <p:blipFill>
          <a:blip r:embed="rId2">
            <a:biLevel thresh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411" y="115162"/>
            <a:ext cx="480004" cy="48000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603" y="3629929"/>
            <a:ext cx="309593" cy="338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72351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en-US"/>
              <a:t>Introduction to advanced analytics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E35E0211-0C12-42A3-B7E4-0C70884952A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>
                <a:hlinkClick r:id="rId2"/>
              </a:rPr>
              <a:t>Introduction to Advanced Analytic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1700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en-US"/>
              <a:t>Project selection &amp; completion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E35E0211-0C12-42A3-B7E4-0C70884952A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2050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assignment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258763" y="670343"/>
            <a:ext cx="8466377" cy="3949799"/>
          </a:xfrm>
        </p:spPr>
        <p:txBody>
          <a:bodyPr vert="horz" lIns="0" tIns="0" rIns="0" bIns="0" rtlCol="0" anchor="t">
            <a:sp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Requirements:</a:t>
            </a:r>
          </a:p>
          <a:p>
            <a:pPr marL="342900" indent="-342900">
              <a:buSzPct val="90000"/>
              <a:buAutoNum type="arabicPeriod"/>
            </a:pPr>
            <a:r>
              <a:rPr lang="en-US" b="0" dirty="0"/>
              <a:t>Participants need to select a project that applies data science techniques and modeling tools</a:t>
            </a:r>
          </a:p>
          <a:p>
            <a:pPr marL="342900" indent="-342900">
              <a:buSzPct val="90000"/>
              <a:buAutoNum type="arabicPeriod"/>
            </a:pPr>
            <a:r>
              <a:rPr lang="en-US" b="0" dirty="0"/>
              <a:t>Project will follow the digital advanced analytics methodology, DMAIC route</a:t>
            </a:r>
          </a:p>
          <a:p>
            <a:pPr marL="342900" indent="-342900">
              <a:buSzPct val="90000"/>
              <a:buAutoNum type="arabicPeriod"/>
            </a:pPr>
            <a:r>
              <a:rPr lang="en-US" b="0" dirty="0"/>
              <a:t>Project needs to be approved by direct supervisor and aligned with job</a:t>
            </a:r>
          </a:p>
          <a:p>
            <a:pPr marL="342900" indent="-342900">
              <a:buSzPct val="90000"/>
              <a:buAutoNum type="arabicPeriod"/>
            </a:pPr>
            <a:r>
              <a:rPr lang="en-US" b="0" dirty="0"/>
              <a:t>Project has to have some sort of business value</a:t>
            </a:r>
          </a:p>
          <a:p>
            <a:pPr marL="0" indent="0">
              <a:buSzPct val="90000"/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Assistance:</a:t>
            </a:r>
          </a:p>
          <a:p>
            <a:pPr marL="342900" indent="-342900">
              <a:buSzPct val="90000"/>
              <a:buAutoNum type="arabicPeriod"/>
            </a:pPr>
            <a:r>
              <a:rPr lang="en-US" b="0" dirty="0"/>
              <a:t>Digital COE team will support virtually and on-demand per required</a:t>
            </a:r>
          </a:p>
          <a:p>
            <a:pPr marL="342900" indent="-342900">
              <a:buSzPct val="90000"/>
              <a:buAutoNum type="arabicPeriod"/>
            </a:pPr>
            <a:r>
              <a:rPr lang="en-US" b="0" dirty="0"/>
              <a:t>Project will follow the gate review process as defined by the </a:t>
            </a:r>
            <a:r>
              <a:rPr lang="en-US" b="0">
                <a:hlinkClick r:id="rId3"/>
              </a:rPr>
              <a:t>Data Science “DMAIC” process</a:t>
            </a:r>
          </a:p>
          <a:p>
            <a:pPr marL="342900" indent="-342900">
              <a:buSzPct val="90000"/>
              <a:buAutoNum type="arabicPeriod"/>
            </a:pPr>
            <a:r>
              <a:rPr lang="en-US" b="0" dirty="0"/>
              <a:t>Multiple students are allowed to work on a single project in certain instances (determined on a case by case basis)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Duration:</a:t>
            </a:r>
          </a:p>
          <a:p>
            <a:pPr marL="0" indent="0">
              <a:buNone/>
            </a:pPr>
            <a:r>
              <a:rPr lang="en-US" b="0" dirty="0"/>
              <a:t>13 Weeks / Total investment of hours required per completion of project assignment is ~ 60- 80 hrs.</a:t>
            </a:r>
            <a:endParaRPr lang="en-GB" b="0" dirty="0"/>
          </a:p>
        </p:txBody>
      </p:sp>
    </p:spTree>
    <p:extLst>
      <p:ext uri="{BB962C8B-B14F-4D97-AF65-F5344CB8AC3E}">
        <p14:creationId xmlns:p14="http://schemas.microsoft.com/office/powerpoint/2010/main" val="2219496797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1CA689-1191-465A-AC2E-8D705FA1A5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charter form</a:t>
            </a: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76524" y="926301"/>
            <a:ext cx="7825124" cy="377652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15544EE-5DEA-40F8-8927-EA688EF6FD05}"/>
              </a:ext>
            </a:extLst>
          </p:cNvPr>
          <p:cNvSpPr txBox="1"/>
          <p:nvPr/>
        </p:nvSpPr>
        <p:spPr>
          <a:xfrm>
            <a:off x="576524" y="751353"/>
            <a:ext cx="321733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>
                <a:hlinkClick r:id="rId3"/>
              </a:rPr>
              <a:t>Step 1: Define Problem</a:t>
            </a:r>
            <a:endParaRPr lang="en-US" sz="1100"/>
          </a:p>
        </p:txBody>
      </p:sp>
    </p:spTree>
    <p:extLst>
      <p:ext uri="{BB962C8B-B14F-4D97-AF65-F5344CB8AC3E}">
        <p14:creationId xmlns:p14="http://schemas.microsoft.com/office/powerpoint/2010/main" val="2505157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en-US"/>
              <a:t>Q &amp; A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C566D10C-E389-4372-BF6B-557E6C523DA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6130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en-US"/>
              <a:t>Appendix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C5214A-A292-4068-AA2C-66E31C26E9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40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56DDC0-A2C8-4E8E-81CD-7957C62EE6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ools matrix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B8D57F-78F8-48A7-8310-F465340760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081713" y="4568490"/>
            <a:ext cx="2133600" cy="273844"/>
          </a:xfrm>
        </p:spPr>
        <p:txBody>
          <a:bodyPr/>
          <a:lstStyle/>
          <a:p>
            <a:fld id="{D60D1EDE-7116-2443-9BDD-368CE5B37660}" type="slidenum">
              <a:rPr lang="en-US" smtClean="0"/>
              <a:t>18</a:t>
            </a:fld>
            <a:endParaRPr lang="en-US"/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50EA847D-D47B-48A8-BB12-EFF162A2CF1D}"/>
              </a:ext>
            </a:extLst>
          </p:cNvPr>
          <p:cNvCxnSpPr>
            <a:cxnSpLocks/>
          </p:cNvCxnSpPr>
          <p:nvPr/>
        </p:nvCxnSpPr>
        <p:spPr>
          <a:xfrm>
            <a:off x="2436019" y="4402382"/>
            <a:ext cx="5975747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3F1E3832-6FED-442C-9D39-B4565D74B6D8}"/>
              </a:ext>
            </a:extLst>
          </p:cNvPr>
          <p:cNvCxnSpPr>
            <a:cxnSpLocks/>
          </p:cNvCxnSpPr>
          <p:nvPr/>
        </p:nvCxnSpPr>
        <p:spPr>
          <a:xfrm flipV="1">
            <a:off x="2436019" y="1013863"/>
            <a:ext cx="0" cy="338851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Oval 8">
            <a:extLst>
              <a:ext uri="{FF2B5EF4-FFF2-40B4-BE49-F238E27FC236}">
                <a16:creationId xmlns:a16="http://schemas.microsoft.com/office/drawing/2014/main" id="{35048D35-AECC-4C6C-B0FA-859D700A0A3A}"/>
              </a:ext>
            </a:extLst>
          </p:cNvPr>
          <p:cNvSpPr/>
          <p:nvPr/>
        </p:nvSpPr>
        <p:spPr>
          <a:xfrm>
            <a:off x="6034088" y="3380453"/>
            <a:ext cx="1114425" cy="848677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Data bricks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E62ADCA2-32CD-41BD-A3E9-F55F4537A5AB}"/>
              </a:ext>
            </a:extLst>
          </p:cNvPr>
          <p:cNvSpPr/>
          <p:nvPr/>
        </p:nvSpPr>
        <p:spPr>
          <a:xfrm>
            <a:off x="2434015" y="866000"/>
            <a:ext cx="1073567" cy="921544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Eagle Web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8A024E4-8EFD-41D0-981E-4339D8D411FB}"/>
              </a:ext>
            </a:extLst>
          </p:cNvPr>
          <p:cNvSpPr txBox="1"/>
          <p:nvPr/>
        </p:nvSpPr>
        <p:spPr>
          <a:xfrm>
            <a:off x="807248" y="4090200"/>
            <a:ext cx="15573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Descriptiv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52D0E15-B21F-4396-AE89-6D9320477C8D}"/>
              </a:ext>
            </a:extLst>
          </p:cNvPr>
          <p:cNvSpPr txBox="1"/>
          <p:nvPr/>
        </p:nvSpPr>
        <p:spPr>
          <a:xfrm>
            <a:off x="807248" y="3036497"/>
            <a:ext cx="15573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Diagnostic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EB68850-DEB5-4309-9BE3-59A0F766C7D9}"/>
              </a:ext>
            </a:extLst>
          </p:cNvPr>
          <p:cNvSpPr txBox="1"/>
          <p:nvPr/>
        </p:nvSpPr>
        <p:spPr>
          <a:xfrm>
            <a:off x="807247" y="1982794"/>
            <a:ext cx="15573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Predictiv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F74214D-4F75-4E95-889D-57E45B10B2E6}"/>
              </a:ext>
            </a:extLst>
          </p:cNvPr>
          <p:cNvSpPr txBox="1"/>
          <p:nvPr/>
        </p:nvSpPr>
        <p:spPr>
          <a:xfrm>
            <a:off x="807246" y="929091"/>
            <a:ext cx="15573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Prescriptiv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042236A-DE6B-40FD-A80C-E5067FFB7464}"/>
              </a:ext>
            </a:extLst>
          </p:cNvPr>
          <p:cNvSpPr txBox="1"/>
          <p:nvPr/>
        </p:nvSpPr>
        <p:spPr>
          <a:xfrm>
            <a:off x="2543180" y="4520746"/>
            <a:ext cx="15573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Self Servi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4560200-0240-488F-AC1D-6202D08B7C85}"/>
              </a:ext>
            </a:extLst>
          </p:cNvPr>
          <p:cNvSpPr txBox="1"/>
          <p:nvPr/>
        </p:nvSpPr>
        <p:spPr>
          <a:xfrm>
            <a:off x="7239005" y="4568490"/>
            <a:ext cx="15573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Programming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CD2E9713-5BA8-4045-936C-7526A4A8CEF6}"/>
              </a:ext>
            </a:extLst>
          </p:cNvPr>
          <p:cNvSpPr/>
          <p:nvPr/>
        </p:nvSpPr>
        <p:spPr>
          <a:xfrm>
            <a:off x="2543181" y="2708122"/>
            <a:ext cx="764376" cy="794146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err="1"/>
              <a:t>MiniTab</a:t>
            </a:r>
            <a:endParaRPr lang="en-US" sz="120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779CF26-D5B7-4023-B0B5-0CC872E70D64}"/>
              </a:ext>
            </a:extLst>
          </p:cNvPr>
          <p:cNvSpPr/>
          <p:nvPr/>
        </p:nvSpPr>
        <p:spPr>
          <a:xfrm>
            <a:off x="4393402" y="3124540"/>
            <a:ext cx="871537" cy="794144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Power BI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B527B5A4-9A00-4510-AE21-1578DA2AEA76}"/>
              </a:ext>
            </a:extLst>
          </p:cNvPr>
          <p:cNvSpPr/>
          <p:nvPr/>
        </p:nvSpPr>
        <p:spPr>
          <a:xfrm>
            <a:off x="7339014" y="3098999"/>
            <a:ext cx="1204912" cy="794144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Spyder / </a:t>
            </a:r>
            <a:r>
              <a:rPr lang="en-US" sz="1200" err="1"/>
              <a:t>Jupyter</a:t>
            </a:r>
            <a:r>
              <a:rPr lang="en-US" sz="1200"/>
              <a:t> Notebook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31E82047-0555-4219-B619-23DE9AE20398}"/>
              </a:ext>
            </a:extLst>
          </p:cNvPr>
          <p:cNvSpPr/>
          <p:nvPr/>
        </p:nvSpPr>
        <p:spPr>
          <a:xfrm>
            <a:off x="3302800" y="3372280"/>
            <a:ext cx="932254" cy="848677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Excel</a:t>
            </a:r>
          </a:p>
        </p:txBody>
      </p:sp>
    </p:spTree>
    <p:extLst>
      <p:ext uri="{BB962C8B-B14F-4D97-AF65-F5344CB8AC3E}">
        <p14:creationId xmlns:p14="http://schemas.microsoft.com/office/powerpoint/2010/main" val="3154737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100F53-EA5F-4C26-A5E1-5AD1B180CC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urse Facilitator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0B0EB02-3930-4520-B4A5-BFE45166BF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2</a:t>
            </a:fld>
            <a:endParaRPr lang="en-US"/>
          </a:p>
        </p:txBody>
      </p:sp>
      <p:pic>
        <p:nvPicPr>
          <p:cNvPr id="1026" name="id-0CC4643F-F578-4CC8-844A-2A6F57B96FB6" descr="Image.jpeg">
            <a:extLst>
              <a:ext uri="{FF2B5EF4-FFF2-40B4-BE49-F238E27FC236}">
                <a16:creationId xmlns:a16="http://schemas.microsoft.com/office/drawing/2014/main" id="{C161960E-3B48-4B72-0903-C66835AA5C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578" y="1045028"/>
            <a:ext cx="1053667" cy="10162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3C0A430-7788-CC1B-71E4-860D80043D45}"/>
              </a:ext>
            </a:extLst>
          </p:cNvPr>
          <p:cNvSpPr txBox="1"/>
          <p:nvPr/>
        </p:nvSpPr>
        <p:spPr>
          <a:xfrm>
            <a:off x="1685245" y="1226457"/>
            <a:ext cx="279966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/>
              <a:t>Mitchell Logan</a:t>
            </a:r>
          </a:p>
          <a:p>
            <a:r>
              <a:rPr lang="en-US" sz="1100" i="1"/>
              <a:t>Sr. Manager, Data Governance &amp; Suppor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9FC9367-5589-163A-54B0-0A872CF6B95B}"/>
              </a:ext>
            </a:extLst>
          </p:cNvPr>
          <p:cNvSpPr txBox="1"/>
          <p:nvPr/>
        </p:nvSpPr>
        <p:spPr>
          <a:xfrm>
            <a:off x="4717142" y="1045028"/>
            <a:ext cx="4071258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Enjoys hiking, traveling, cooking, reading, and hanging out with my famil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Avid sports fa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Accidentally used liquid sugar to clean my hands in a supplier meeting at Pinda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10 years at Noveli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DF602FF-E001-4535-449A-609939176F92}"/>
              </a:ext>
            </a:extLst>
          </p:cNvPr>
          <p:cNvSpPr txBox="1"/>
          <p:nvPr/>
        </p:nvSpPr>
        <p:spPr>
          <a:xfrm>
            <a:off x="1709563" y="2782882"/>
            <a:ext cx="2799669" cy="43088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100"/>
              <a:t>Russ Krenek</a:t>
            </a:r>
          </a:p>
          <a:p>
            <a:r>
              <a:rPr lang="en-US" sz="1100" i="1">
                <a:cs typeface="Arial"/>
              </a:rPr>
              <a:t>Data Science and Insights Engineer</a:t>
            </a:r>
            <a:endParaRPr lang="en-US" sz="1100" i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ECFB43-39F5-D808-63C2-B483ACF5BD2D}"/>
              </a:ext>
            </a:extLst>
          </p:cNvPr>
          <p:cNvSpPr txBox="1"/>
          <p:nvPr/>
        </p:nvSpPr>
        <p:spPr>
          <a:xfrm>
            <a:off x="4741460" y="2601453"/>
            <a:ext cx="4071258" cy="76944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/>
              <a:t>Enjoys videogames, running and spending time with family</a:t>
            </a:r>
            <a:endParaRPr lang="en-US" sz="1100"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/>
              <a:t>College basketball and college football fan</a:t>
            </a:r>
            <a:endParaRPr lang="en-US" sz="1100" err="1"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>
                <a:cs typeface="Arial"/>
              </a:rPr>
              <a:t>Was formerly a college engineering professor</a:t>
            </a:r>
            <a:endParaRPr lang="en-US" sz="11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/>
              <a:t>1 year at Novelis</a:t>
            </a:r>
          </a:p>
        </p:txBody>
      </p:sp>
      <p:pic>
        <p:nvPicPr>
          <p:cNvPr id="8" name="Picture 7" descr="A person wearing glasses and looking at the camera&#10;&#10;Description automatically generated">
            <a:extLst>
              <a:ext uri="{FF2B5EF4-FFF2-40B4-BE49-F238E27FC236}">
                <a16:creationId xmlns:a16="http://schemas.microsoft.com/office/drawing/2014/main" id="{1F2152C4-CB3E-829A-97F6-61937252FE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3995" y="2480551"/>
            <a:ext cx="976591" cy="1013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590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138530" y="4907837"/>
            <a:ext cx="2909771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/>
              <a:t>* </a:t>
            </a:r>
            <a:r>
              <a:rPr lang="en-US" sz="600" err="1"/>
              <a:t>Datacamp</a:t>
            </a:r>
            <a:r>
              <a:rPr lang="en-US" sz="600"/>
              <a:t> is used per self-learning / e-Courses platform: </a:t>
            </a:r>
            <a:r>
              <a:rPr lang="en-US" sz="600">
                <a:hlinkClick r:id="rId2"/>
              </a:rPr>
              <a:t>www.datacamp.com</a:t>
            </a:r>
            <a:r>
              <a:rPr lang="en-US" sz="600"/>
              <a:t> </a:t>
            </a:r>
            <a:endParaRPr lang="en-GB" sz="60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A5AE693-23A6-473D-947B-71435FAD576B}"/>
              </a:ext>
            </a:extLst>
          </p:cNvPr>
          <p:cNvSpPr txBox="1"/>
          <p:nvPr/>
        </p:nvSpPr>
        <p:spPr>
          <a:xfrm>
            <a:off x="448825" y="845186"/>
            <a:ext cx="8019627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troduction …………………………………………………………. 10 min</a:t>
            </a:r>
          </a:p>
          <a:p>
            <a:endParaRPr lang="en-US" dirty="0"/>
          </a:p>
          <a:p>
            <a:r>
              <a:rPr lang="en-US" dirty="0"/>
              <a:t>Course overview ……………………………………………….......  10 min</a:t>
            </a:r>
          </a:p>
          <a:p>
            <a:endParaRPr lang="en-US" dirty="0"/>
          </a:p>
          <a:p>
            <a:r>
              <a:rPr lang="en-US" dirty="0"/>
              <a:t>What is advanced analytics in Novelis Part 1 ……………………. 25 min</a:t>
            </a:r>
          </a:p>
          <a:p>
            <a:endParaRPr lang="en-US" dirty="0"/>
          </a:p>
          <a:p>
            <a:r>
              <a:rPr lang="en-US" b="1" dirty="0"/>
              <a:t>Break …………………………………………………………………. 10 min</a:t>
            </a:r>
          </a:p>
          <a:p>
            <a:endParaRPr lang="en-US" b="1" dirty="0"/>
          </a:p>
          <a:p>
            <a:r>
              <a:rPr lang="en-US" dirty="0"/>
              <a:t>What is advanced analytics in Novelis Part 2 ……………………. 20 min</a:t>
            </a:r>
            <a:endParaRPr lang="en-US" b="1" dirty="0"/>
          </a:p>
          <a:p>
            <a:endParaRPr lang="en-US" dirty="0"/>
          </a:p>
          <a:p>
            <a:r>
              <a:rPr lang="en-US" dirty="0"/>
              <a:t>Project discussion …………………………………………………….15 min</a:t>
            </a:r>
          </a:p>
          <a:p>
            <a:endParaRPr lang="en-US" dirty="0"/>
          </a:p>
          <a:p>
            <a:r>
              <a:rPr lang="en-US" dirty="0"/>
              <a:t>Q &amp; A ……………………………………………………….…….….… 5 min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7154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>
            <a:extLst>
              <a:ext uri="{FF2B5EF4-FFF2-40B4-BE49-F238E27FC236}">
                <a16:creationId xmlns:a16="http://schemas.microsoft.com/office/drawing/2014/main" id="{E0500A4C-C6DF-41AE-8073-86D8CAE6AD07}"/>
              </a:ext>
            </a:extLst>
          </p:cNvPr>
          <p:cNvSpPr/>
          <p:nvPr/>
        </p:nvSpPr>
        <p:spPr>
          <a:xfrm>
            <a:off x="441112" y="2090411"/>
            <a:ext cx="770043" cy="690880"/>
          </a:xfrm>
          <a:prstGeom prst="ellipse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/>
          <p:cNvSpPr/>
          <p:nvPr/>
        </p:nvSpPr>
        <p:spPr>
          <a:xfrm>
            <a:off x="441112" y="901788"/>
            <a:ext cx="820129" cy="800888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E7B9E45-5F63-49D0-8726-416AE6E313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round ru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10C4152-7C4C-4F08-8F33-37625DFE5D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D60D1EDE-7116-2443-9BDD-368CE5B37660}" type="slidenum">
              <a:rPr lang="en-US" smtClean="0"/>
              <a:t>4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68BCD9-EA5F-4518-B491-D4E2707B7FAA}"/>
              </a:ext>
            </a:extLst>
          </p:cNvPr>
          <p:cNvSpPr txBox="1"/>
          <p:nvPr/>
        </p:nvSpPr>
        <p:spPr>
          <a:xfrm>
            <a:off x="1307254" y="1073131"/>
            <a:ext cx="6786879" cy="31393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/>
              <a:t>Turn on your webcam!  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Ask questions / comments in the chat feature of MS teams</a:t>
            </a:r>
            <a:endParaRPr lang="en-US">
              <a:cs typeface="Arial"/>
            </a:endParaRP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Be prepared to interact and give feedback</a:t>
            </a:r>
          </a:p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F9713AD-33AD-413B-AA24-3007BCB702D5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astelsSmooth/>
                    </a14:imgEffect>
                    <a14:imgEffect>
                      <a14:saturation sat="200000"/>
                    </a14:imgEffect>
                  </a14:imgLayer>
                </a14:imgProps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587295" y="2214626"/>
            <a:ext cx="469280" cy="434919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60BB7908-C4CF-4BAA-BAD1-52CD01383916}"/>
              </a:ext>
            </a:extLst>
          </p:cNvPr>
          <p:cNvSpPr/>
          <p:nvPr/>
        </p:nvSpPr>
        <p:spPr>
          <a:xfrm>
            <a:off x="398335" y="3304221"/>
            <a:ext cx="770043" cy="744364"/>
          </a:xfrm>
          <a:prstGeom prst="ellipse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1" descr="A picture containing text, night sky&#10;&#10;Description automatically generated">
            <a:extLst>
              <a:ext uri="{FF2B5EF4-FFF2-40B4-BE49-F238E27FC236}">
                <a16:creationId xmlns:a16="http://schemas.microsoft.com/office/drawing/2014/main" id="{53539F50-A05F-4E68-A44E-9E8C33197D22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837473B0-CC2E-450A-ABE3-18F120FF3D39}">
                <a1611:picAttrSrcUrl xmlns:a1611="http://schemas.microsoft.com/office/drawing/2016/11/main" r:id="rId6"/>
              </a:ext>
            </a:extLst>
          </a:blip>
          <a:stretch>
            <a:fillRect/>
          </a:stretch>
        </p:blipFill>
        <p:spPr>
          <a:xfrm>
            <a:off x="441112" y="3429820"/>
            <a:ext cx="711314" cy="43968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55" t="18947" r="17859" b="16594"/>
          <a:stretch/>
        </p:blipFill>
        <p:spPr>
          <a:xfrm>
            <a:off x="576524" y="997076"/>
            <a:ext cx="563290" cy="579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94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D26471-DDC2-4792-8D11-CC4AB8FF3A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afety minut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12DCBC3-C9EA-4DE4-967F-54A71B7C55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5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2603C3E-5490-444F-9CC3-B98F76AFC7F5}"/>
              </a:ext>
            </a:extLst>
          </p:cNvPr>
          <p:cNvSpPr txBox="1"/>
          <p:nvPr/>
        </p:nvSpPr>
        <p:spPr>
          <a:xfrm>
            <a:off x="102391" y="4902749"/>
            <a:ext cx="34129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>
                <a:hlinkClick r:id="rId2"/>
              </a:rPr>
              <a:t>https://www.wawanesa.com/us/blog/12-parking-lot-safety-tips</a:t>
            </a:r>
            <a:endParaRPr lang="en-US" sz="700"/>
          </a:p>
          <a:p>
            <a:endParaRPr lang="en-US" sz="70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964644A-6156-4B4D-8A91-8F1148EBADD9}"/>
              </a:ext>
            </a:extLst>
          </p:cNvPr>
          <p:cNvSpPr txBox="1"/>
          <p:nvPr/>
        </p:nvSpPr>
        <p:spPr>
          <a:xfrm>
            <a:off x="283029" y="1232922"/>
            <a:ext cx="4572000" cy="286232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hat happens at home can indirectly influence workplace hazard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mployees who don’t get enough rest can fatigue more easily and make mistakes, putting themselves and their coworkers at risk of injury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>
                <a:latin typeface="Calibri" panose="020F0502020204030204" pitchFamily="34" charset="0"/>
                <a:cs typeface="Calibri" panose="020F0502020204030204" pitchFamily="34" charset="0"/>
              </a:rPr>
              <a:t>The Institute of Medicine of the National Academies reports that people struggling with sleep have a much higher risk for accident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b="0" i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ighly fatigued workers are 70% more likely to be involved in workplace accidents compared to workers with lower fatigue levels. </a:t>
            </a:r>
            <a:endParaRPr lang="en-US" sz="12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>
                <a:latin typeface="Calibri" panose="020F0502020204030204" pitchFamily="34" charset="0"/>
                <a:cs typeface="Calibri" panose="020F0502020204030204" pitchFamily="34" charset="0"/>
              </a:rPr>
              <a:t>Sleep sharpens our cognitive ability, enabling us to think fast, act fast, and act smar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i="0">
                <a:solidFill>
                  <a:srgbClr val="202124"/>
                </a:solidFill>
                <a:effectLst/>
                <a:latin typeface="Google Sans"/>
              </a:rPr>
              <a:t>Most adults need 7+ hours of sleep/day according to Sleep Foundation.</a:t>
            </a:r>
            <a:endParaRPr lang="en-US" sz="12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EDD71BD-CAC8-4EAF-BB9C-FF23905600F9}"/>
              </a:ext>
            </a:extLst>
          </p:cNvPr>
          <p:cNvSpPr txBox="1"/>
          <p:nvPr/>
        </p:nvSpPr>
        <p:spPr>
          <a:xfrm>
            <a:off x="448602" y="806470"/>
            <a:ext cx="34129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/>
              <a:t>The importance of proper res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C457FCA-0267-F511-CF67-833062133E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57724" y="1471566"/>
            <a:ext cx="3703247" cy="2200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1622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FE175EC-EDD5-4085-A337-947C5ED95C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882" y="201488"/>
            <a:ext cx="7579377" cy="284693"/>
          </a:xfrm>
        </p:spPr>
        <p:txBody>
          <a:bodyPr/>
          <a:lstStyle/>
          <a:p>
            <a:r>
              <a:rPr lang="en-US" sz="1850">
                <a:cs typeface="Arial"/>
              </a:rPr>
              <a:t>Websites and digital tools being used</a:t>
            </a:r>
          </a:p>
        </p:txBody>
      </p:sp>
      <p:pic>
        <p:nvPicPr>
          <p:cNvPr id="9218" name="Picture 2" descr="Learn R, Python &amp;amp; Data Science Online | DataCamp">
            <a:extLst>
              <a:ext uri="{FF2B5EF4-FFF2-40B4-BE49-F238E27FC236}">
                <a16:creationId xmlns:a16="http://schemas.microsoft.com/office/drawing/2014/main" id="{50279D33-EDC3-4540-9FE6-6B91B48B37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023" y="851501"/>
            <a:ext cx="2483761" cy="13039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4" name="Picture 8" descr="SailPoint Identity Security for Teams - SailPoint">
            <a:extLst>
              <a:ext uri="{FF2B5EF4-FFF2-40B4-BE49-F238E27FC236}">
                <a16:creationId xmlns:a16="http://schemas.microsoft.com/office/drawing/2014/main" id="{F99C2471-EBB2-4439-8413-B1BC9A88F4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3069" y="905833"/>
            <a:ext cx="2795278" cy="1118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6" name="Picture 10">
            <a:extLst>
              <a:ext uri="{FF2B5EF4-FFF2-40B4-BE49-F238E27FC236}">
                <a16:creationId xmlns:a16="http://schemas.microsoft.com/office/drawing/2014/main" id="{6B63DD2F-A1F2-403F-83F8-0F1FA3E1D9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2572" y="2240729"/>
            <a:ext cx="1516250" cy="1757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 descr="Logo&#10;&#10;Description automatically generated">
            <a:extLst>
              <a:ext uri="{FF2B5EF4-FFF2-40B4-BE49-F238E27FC236}">
                <a16:creationId xmlns:a16="http://schemas.microsoft.com/office/drawing/2014/main" id="{D506947D-9096-7E75-9EA3-69C9BFA924D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35385" y="2460065"/>
            <a:ext cx="2387048" cy="1197666"/>
          </a:xfrm>
          <a:prstGeom prst="rect">
            <a:avLst/>
          </a:prstGeom>
        </p:spPr>
      </p:pic>
      <p:pic>
        <p:nvPicPr>
          <p:cNvPr id="3" name="Picture 4">
            <a:extLst>
              <a:ext uri="{FF2B5EF4-FFF2-40B4-BE49-F238E27FC236}">
                <a16:creationId xmlns:a16="http://schemas.microsoft.com/office/drawing/2014/main" id="{C41426C9-C814-47D1-D0D7-E03DDC34D48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75646" y="4335348"/>
            <a:ext cx="3712265" cy="606664"/>
          </a:xfrm>
          <a:prstGeom prst="rect">
            <a:avLst/>
          </a:prstGeom>
        </p:spPr>
      </p:pic>
      <p:pic>
        <p:nvPicPr>
          <p:cNvPr id="5" name="Picture 5" descr="Logo&#10;&#10;Description automatically generated">
            <a:extLst>
              <a:ext uri="{FF2B5EF4-FFF2-40B4-BE49-F238E27FC236}">
                <a16:creationId xmlns:a16="http://schemas.microsoft.com/office/drawing/2014/main" id="{7C74CF7A-E7D2-E901-9E3C-7FFC61F6C35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98703" y="922302"/>
            <a:ext cx="2047461" cy="1153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4128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en-US"/>
              <a:t>course overview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 vert="horz" lIns="0" tIns="45720" rIns="91440" bIns="45720" rtlCol="0" anchor="t">
            <a:norm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0821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1876358812"/>
              </p:ext>
            </p:extLst>
          </p:nvPr>
        </p:nvGraphicFramePr>
        <p:xfrm>
          <a:off x="662615" y="1229541"/>
          <a:ext cx="7467748" cy="40679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ATA SCIENCE PROGRAM objectiv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498475" y="845092"/>
            <a:ext cx="8393277" cy="372427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400" b="1"/>
              <a:t>What?</a:t>
            </a:r>
          </a:p>
          <a:p>
            <a:r>
              <a:rPr lang="en-US" sz="1400" b="0"/>
              <a:t>The Digital Data Science team will kickoff new training sessions per capability building to potential Citizen Data Scientists candidates across different Novelis sites and function areas</a:t>
            </a:r>
          </a:p>
          <a:p>
            <a:pPr marL="0" indent="0">
              <a:buNone/>
            </a:pPr>
            <a:endParaRPr lang="en-US" sz="1400"/>
          </a:p>
          <a:p>
            <a:pPr marL="347662" lvl="1" indent="0">
              <a:buNone/>
            </a:pPr>
            <a:endParaRPr lang="en-US" sz="120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5488" y="4154221"/>
            <a:ext cx="708479" cy="70847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075" y="3966485"/>
            <a:ext cx="655562" cy="66384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6138530" y="4907837"/>
            <a:ext cx="2909771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/>
              <a:t>* </a:t>
            </a:r>
            <a:r>
              <a:rPr lang="en-US" sz="600" err="1"/>
              <a:t>Datacamp</a:t>
            </a:r>
            <a:r>
              <a:rPr lang="en-US" sz="600"/>
              <a:t> is used per self-learning / e-Courses platform: </a:t>
            </a:r>
            <a:r>
              <a:rPr lang="en-US" sz="600">
                <a:hlinkClick r:id="rId9"/>
              </a:rPr>
              <a:t>www.datacamp.com</a:t>
            </a:r>
            <a:r>
              <a:rPr lang="en-US" sz="600"/>
              <a:t> </a:t>
            </a:r>
            <a:endParaRPr lang="en-GB" sz="60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4861" y="1855824"/>
            <a:ext cx="715926" cy="715926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0186259-C991-4164-8E6E-41A797137C7A}"/>
              </a:ext>
            </a:extLst>
          </p:cNvPr>
          <p:cNvCxnSpPr>
            <a:cxnSpLocks/>
          </p:cNvCxnSpPr>
          <p:nvPr/>
        </p:nvCxnSpPr>
        <p:spPr>
          <a:xfrm>
            <a:off x="5482455" y="4144944"/>
            <a:ext cx="0" cy="727035"/>
          </a:xfrm>
          <a:prstGeom prst="line">
            <a:avLst/>
          </a:prstGeom>
          <a:ln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287A8919-731A-4977-A948-CC173E19C118}"/>
              </a:ext>
            </a:extLst>
          </p:cNvPr>
          <p:cNvSpPr txBox="1"/>
          <p:nvPr/>
        </p:nvSpPr>
        <p:spPr>
          <a:xfrm>
            <a:off x="4795760" y="4871979"/>
            <a:ext cx="13427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/>
              <a:t>Project Selection</a:t>
            </a:r>
          </a:p>
        </p:txBody>
      </p:sp>
      <p:pic>
        <p:nvPicPr>
          <p:cNvPr id="41" name="Graphic 41" descr="Checkbox Checked with solid fill">
            <a:extLst>
              <a:ext uri="{FF2B5EF4-FFF2-40B4-BE49-F238E27FC236}">
                <a16:creationId xmlns:a16="http://schemas.microsoft.com/office/drawing/2014/main" id="{6425B0CC-D5C3-3255-0879-26057E05BAB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578775" y="2707229"/>
            <a:ext cx="409161" cy="409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8430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ata science Program timeline (updated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576524" y="738039"/>
            <a:ext cx="7987305" cy="541123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400" b="1"/>
              <a:t>When?</a:t>
            </a:r>
            <a:r>
              <a:rPr lang="en-US" sz="1400"/>
              <a:t> </a:t>
            </a:r>
          </a:p>
          <a:p>
            <a:pPr marL="0" indent="0">
              <a:buNone/>
            </a:pPr>
            <a:r>
              <a:rPr lang="en-US" sz="1400" b="0"/>
              <a:t>Below is the timeline specified for the DS Training program:</a:t>
            </a:r>
          </a:p>
        </p:txBody>
      </p:sp>
      <p:sp>
        <p:nvSpPr>
          <p:cNvPr id="10" name="Freeform 9"/>
          <p:cNvSpPr/>
          <p:nvPr/>
        </p:nvSpPr>
        <p:spPr>
          <a:xfrm>
            <a:off x="739091" y="3070180"/>
            <a:ext cx="1092763" cy="1170000"/>
          </a:xfrm>
          <a:custGeom>
            <a:avLst/>
            <a:gdLst>
              <a:gd name="connsiteX0" fmla="*/ 0 w 1754425"/>
              <a:gd name="connsiteY0" fmla="*/ 0 h 1170000"/>
              <a:gd name="connsiteX1" fmla="*/ 1754425 w 1754425"/>
              <a:gd name="connsiteY1" fmla="*/ 0 h 1170000"/>
              <a:gd name="connsiteX2" fmla="*/ 1754425 w 1754425"/>
              <a:gd name="connsiteY2" fmla="*/ 1170000 h 1170000"/>
              <a:gd name="connsiteX3" fmla="*/ 0 w 1754425"/>
              <a:gd name="connsiteY3" fmla="*/ 1170000 h 1170000"/>
              <a:gd name="connsiteX4" fmla="*/ 0 w 1754425"/>
              <a:gd name="connsiteY4" fmla="*/ 0 h 117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54425" h="1170000">
                <a:moveTo>
                  <a:pt x="0" y="0"/>
                </a:moveTo>
                <a:lnTo>
                  <a:pt x="1754425" y="0"/>
                </a:lnTo>
                <a:lnTo>
                  <a:pt x="1754425" y="1170000"/>
                </a:lnTo>
                <a:lnTo>
                  <a:pt x="0" y="117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114300" lvl="1" indent="-114300" defTabSz="533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en-US" sz="1050"/>
              <a:t>Jan 23 - 25</a:t>
            </a:r>
            <a:endParaRPr lang="en-US" sz="1050">
              <a:cs typeface="Arial"/>
            </a:endParaRPr>
          </a:p>
          <a:p>
            <a:pPr marL="114300" lvl="1" indent="-114300" algn="l" defTabSz="533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endParaRPr lang="en-US" sz="1050" b="0" kern="1200"/>
          </a:p>
          <a:p>
            <a:pPr marL="114300" lvl="1" indent="-114300" algn="l" defTabSz="533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endParaRPr lang="en-US" sz="1050"/>
          </a:p>
          <a:p>
            <a:pPr marL="114300" lvl="1" indent="-114300" algn="l" defTabSz="533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en-US" sz="1050" b="0" kern="1200"/>
              <a:t>Duration: </a:t>
            </a:r>
            <a:r>
              <a:rPr lang="en-US" sz="1050">
                <a:solidFill>
                  <a:schemeClr val="tx1"/>
                </a:solidFill>
              </a:rPr>
              <a:t>1.5 hours</a:t>
            </a:r>
            <a:endParaRPr lang="en-US" sz="1050" kern="1200">
              <a:solidFill>
                <a:schemeClr val="tx1"/>
              </a:solidFill>
              <a:cs typeface="Arial"/>
            </a:endParaRPr>
          </a:p>
        </p:txBody>
      </p:sp>
      <p:sp>
        <p:nvSpPr>
          <p:cNvPr id="12" name="Freeform 11"/>
          <p:cNvSpPr/>
          <p:nvPr/>
        </p:nvSpPr>
        <p:spPr>
          <a:xfrm>
            <a:off x="1881691" y="3054142"/>
            <a:ext cx="1754425" cy="1170000"/>
          </a:xfrm>
          <a:custGeom>
            <a:avLst/>
            <a:gdLst>
              <a:gd name="connsiteX0" fmla="*/ 0 w 1754425"/>
              <a:gd name="connsiteY0" fmla="*/ 0 h 1170000"/>
              <a:gd name="connsiteX1" fmla="*/ 1754425 w 1754425"/>
              <a:gd name="connsiteY1" fmla="*/ 0 h 1170000"/>
              <a:gd name="connsiteX2" fmla="*/ 1754425 w 1754425"/>
              <a:gd name="connsiteY2" fmla="*/ 1170000 h 1170000"/>
              <a:gd name="connsiteX3" fmla="*/ 0 w 1754425"/>
              <a:gd name="connsiteY3" fmla="*/ 1170000 h 1170000"/>
              <a:gd name="connsiteX4" fmla="*/ 0 w 1754425"/>
              <a:gd name="connsiteY4" fmla="*/ 0 h 117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54425" h="1170000">
                <a:moveTo>
                  <a:pt x="0" y="0"/>
                </a:moveTo>
                <a:lnTo>
                  <a:pt x="1754425" y="0"/>
                </a:lnTo>
                <a:lnTo>
                  <a:pt x="1754425" y="1170000"/>
                </a:lnTo>
                <a:lnTo>
                  <a:pt x="0" y="117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114300" lvl="1" indent="-114300" algn="l" defTabSz="533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en-US" sz="1050" kern="1200" dirty="0"/>
              <a:t>Start date: </a:t>
            </a:r>
            <a:r>
              <a:rPr lang="en-US" sz="1050" kern="1200" dirty="0">
                <a:solidFill>
                  <a:schemeClr val="accent3"/>
                </a:solidFill>
              </a:rPr>
              <a:t>Jan 29, 2024</a:t>
            </a:r>
          </a:p>
          <a:p>
            <a:pPr marL="114300" lvl="1" indent="-114300" defTabSz="533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en-US" sz="1050" kern="1200" dirty="0"/>
              <a:t>End date:</a:t>
            </a:r>
            <a:r>
              <a:rPr lang="en-US" sz="1050" dirty="0"/>
              <a:t> </a:t>
            </a:r>
            <a:r>
              <a:rPr lang="en-US" sz="1050" dirty="0">
                <a:solidFill>
                  <a:srgbClr val="000000"/>
                </a:solidFill>
              </a:rPr>
              <a:t> </a:t>
            </a:r>
            <a:r>
              <a:rPr lang="en-US" sz="1050" dirty="0">
                <a:solidFill>
                  <a:schemeClr val="accent3"/>
                </a:solidFill>
              </a:rPr>
              <a:t>March 15, 2024</a:t>
            </a:r>
            <a:endParaRPr lang="en-US" sz="1050" b="1" kern="1200" dirty="0">
              <a:solidFill>
                <a:schemeClr val="accent3"/>
              </a:solidFill>
            </a:endParaRPr>
          </a:p>
          <a:p>
            <a:pPr marL="114300" lvl="1" indent="-114300" algn="l" defTabSz="533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endParaRPr lang="en-US" sz="1050" kern="1200" dirty="0"/>
          </a:p>
          <a:p>
            <a:pPr marL="114300" lvl="1" indent="-114300" defTabSz="533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en-US" sz="1050" kern="1200" dirty="0"/>
              <a:t>Duration:</a:t>
            </a:r>
            <a:r>
              <a:rPr lang="en-US" sz="1050" dirty="0"/>
              <a:t> 7 Weeks </a:t>
            </a:r>
            <a:endParaRPr lang="en-US" sz="1050" kern="1200" dirty="0">
              <a:cs typeface="Arial"/>
            </a:endParaRPr>
          </a:p>
          <a:p>
            <a:pPr marL="114300" lvl="1" indent="-114300" algn="l" defTabSz="533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en-US" sz="1050" kern="1200" dirty="0"/>
              <a:t>Investment: 18 - 26 hours</a:t>
            </a:r>
          </a:p>
        </p:txBody>
      </p:sp>
      <p:sp>
        <p:nvSpPr>
          <p:cNvPr id="14" name="Freeform 13"/>
          <p:cNvSpPr/>
          <p:nvPr/>
        </p:nvSpPr>
        <p:spPr>
          <a:xfrm>
            <a:off x="3772071" y="3051609"/>
            <a:ext cx="1754425" cy="866156"/>
          </a:xfrm>
          <a:custGeom>
            <a:avLst/>
            <a:gdLst>
              <a:gd name="connsiteX0" fmla="*/ 0 w 1754425"/>
              <a:gd name="connsiteY0" fmla="*/ 0 h 1170000"/>
              <a:gd name="connsiteX1" fmla="*/ 1754425 w 1754425"/>
              <a:gd name="connsiteY1" fmla="*/ 0 h 1170000"/>
              <a:gd name="connsiteX2" fmla="*/ 1754425 w 1754425"/>
              <a:gd name="connsiteY2" fmla="*/ 1170000 h 1170000"/>
              <a:gd name="connsiteX3" fmla="*/ 0 w 1754425"/>
              <a:gd name="connsiteY3" fmla="*/ 1170000 h 1170000"/>
              <a:gd name="connsiteX4" fmla="*/ 0 w 1754425"/>
              <a:gd name="connsiteY4" fmla="*/ 0 h 117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54425" h="1170000">
                <a:moveTo>
                  <a:pt x="0" y="0"/>
                </a:moveTo>
                <a:lnTo>
                  <a:pt x="1754425" y="0"/>
                </a:lnTo>
                <a:lnTo>
                  <a:pt x="1754425" y="1170000"/>
                </a:lnTo>
                <a:lnTo>
                  <a:pt x="0" y="117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114300" lvl="1" indent="-114300" algn="l" defTabSz="533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en-US" sz="1100" kern="1200" dirty="0"/>
              <a:t>Start date: </a:t>
            </a:r>
            <a:r>
              <a:rPr lang="en-US" sz="1100" dirty="0">
                <a:solidFill>
                  <a:schemeClr val="accent3"/>
                </a:solidFill>
              </a:rPr>
              <a:t>Mar 25, 2024</a:t>
            </a:r>
            <a:endParaRPr lang="en-US" sz="1100" kern="1200" dirty="0">
              <a:solidFill>
                <a:schemeClr val="accent3"/>
              </a:solidFill>
            </a:endParaRPr>
          </a:p>
          <a:p>
            <a:pPr marL="114300" lvl="1" indent="-114300" defTabSz="533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en-US" sz="1100" kern="1200" dirty="0"/>
              <a:t>End date:</a:t>
            </a:r>
            <a:r>
              <a:rPr lang="en-US" sz="1100" dirty="0"/>
              <a:t> </a:t>
            </a:r>
            <a:r>
              <a:rPr lang="en-US" sz="1100" dirty="0">
                <a:solidFill>
                  <a:schemeClr val="accent3"/>
                </a:solidFill>
              </a:rPr>
              <a:t> May 10, 2024</a:t>
            </a:r>
            <a:endParaRPr lang="en-US" sz="1100" kern="1200" dirty="0">
              <a:solidFill>
                <a:schemeClr val="accent3"/>
              </a:solidFill>
              <a:cs typeface="Arial"/>
            </a:endParaRPr>
          </a:p>
          <a:p>
            <a:pPr marL="114300" lvl="1" indent="-114300" algn="l" defTabSz="533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endParaRPr lang="en-US" sz="1100" kern="1200" dirty="0"/>
          </a:p>
          <a:p>
            <a:pPr marL="114300" lvl="1" indent="-114300" algn="l" defTabSz="533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en-US" sz="1100" kern="1200" dirty="0"/>
              <a:t>Duration: 7 Weeks</a:t>
            </a:r>
            <a:endParaRPr lang="en-US" sz="1100" kern="1200" dirty="0">
              <a:cs typeface="Arial"/>
            </a:endParaRPr>
          </a:p>
          <a:p>
            <a:pPr marL="114300" lvl="1" indent="-114300" algn="l" defTabSz="533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en-US" sz="1100" kern="1200" dirty="0"/>
              <a:t>Investment: </a:t>
            </a:r>
            <a:r>
              <a:rPr lang="en-US" sz="1100" dirty="0"/>
              <a:t>40 - 48</a:t>
            </a:r>
            <a:r>
              <a:rPr lang="en-US" sz="1100" kern="1200" dirty="0"/>
              <a:t> hours</a:t>
            </a:r>
          </a:p>
          <a:p>
            <a:pPr marL="114300" lvl="1" indent="-114300" algn="l" defTabSz="533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en-US" sz="1100" kern="1200" dirty="0">
                <a:cs typeface="Arial"/>
              </a:rPr>
              <a:t>Optional bonus homework:  26 – 30 hours</a:t>
            </a:r>
          </a:p>
        </p:txBody>
      </p:sp>
      <p:sp>
        <p:nvSpPr>
          <p:cNvPr id="15" name="Pentagon 14"/>
          <p:cNvSpPr/>
          <p:nvPr/>
        </p:nvSpPr>
        <p:spPr>
          <a:xfrm>
            <a:off x="5639699" y="2054808"/>
            <a:ext cx="2570562" cy="877212"/>
          </a:xfrm>
          <a:prstGeom prst="homePlat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86612" tIns="16002" rIns="454608" bIns="16002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b="1" kern="1200"/>
              <a:t>Project </a:t>
            </a:r>
          </a:p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b="1" kern="1200"/>
              <a:t>Assignment</a:t>
            </a:r>
          </a:p>
        </p:txBody>
      </p:sp>
      <p:sp>
        <p:nvSpPr>
          <p:cNvPr id="16" name="Freeform 15"/>
          <p:cNvSpPr/>
          <p:nvPr/>
        </p:nvSpPr>
        <p:spPr>
          <a:xfrm>
            <a:off x="5991433" y="3052985"/>
            <a:ext cx="1867094" cy="1170000"/>
          </a:xfrm>
          <a:custGeom>
            <a:avLst/>
            <a:gdLst>
              <a:gd name="connsiteX0" fmla="*/ 0 w 1754425"/>
              <a:gd name="connsiteY0" fmla="*/ 0 h 1170000"/>
              <a:gd name="connsiteX1" fmla="*/ 1754425 w 1754425"/>
              <a:gd name="connsiteY1" fmla="*/ 0 h 1170000"/>
              <a:gd name="connsiteX2" fmla="*/ 1754425 w 1754425"/>
              <a:gd name="connsiteY2" fmla="*/ 1170000 h 1170000"/>
              <a:gd name="connsiteX3" fmla="*/ 0 w 1754425"/>
              <a:gd name="connsiteY3" fmla="*/ 1170000 h 1170000"/>
              <a:gd name="connsiteX4" fmla="*/ 0 w 1754425"/>
              <a:gd name="connsiteY4" fmla="*/ 0 h 117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54425" h="1170000">
                <a:moveTo>
                  <a:pt x="0" y="0"/>
                </a:moveTo>
                <a:lnTo>
                  <a:pt x="1754425" y="0"/>
                </a:lnTo>
                <a:lnTo>
                  <a:pt x="1754425" y="1170000"/>
                </a:lnTo>
                <a:lnTo>
                  <a:pt x="0" y="117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114300" lvl="1" indent="-114300" algn="l" defTabSz="533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en-US" sz="1100" kern="1200" dirty="0">
                <a:solidFill>
                  <a:schemeClr val="tx1"/>
                </a:solidFill>
              </a:rPr>
              <a:t>Start date: </a:t>
            </a:r>
            <a:r>
              <a:rPr lang="en-US" sz="1100" dirty="0">
                <a:solidFill>
                  <a:schemeClr val="accent3"/>
                </a:solidFill>
              </a:rPr>
              <a:t>May 20, 2024</a:t>
            </a:r>
          </a:p>
          <a:p>
            <a:pPr marL="114300" lvl="1" indent="-114300" defTabSz="533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en-US" sz="1100" kern="1200" dirty="0">
                <a:solidFill>
                  <a:schemeClr val="tx1"/>
                </a:solidFill>
              </a:rPr>
              <a:t>End date:</a:t>
            </a:r>
            <a:r>
              <a:rPr lang="en-US" sz="1100" dirty="0">
                <a:solidFill>
                  <a:schemeClr val="tx1"/>
                </a:solidFill>
              </a:rPr>
              <a:t>  </a:t>
            </a:r>
            <a:r>
              <a:rPr lang="en-US" sz="1100" dirty="0">
                <a:solidFill>
                  <a:schemeClr val="accent3"/>
                </a:solidFill>
              </a:rPr>
              <a:t>July 16, 2024</a:t>
            </a:r>
          </a:p>
          <a:p>
            <a:pPr marL="114300" lvl="1" indent="-114300" algn="l" defTabSz="533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endParaRPr lang="en-US" sz="1100" kern="1200" dirty="0">
              <a:solidFill>
                <a:schemeClr val="tx1"/>
              </a:solidFill>
            </a:endParaRPr>
          </a:p>
          <a:p>
            <a:pPr marL="114300" lvl="1" indent="-114300" algn="l" defTabSz="533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en-US" sz="1100" kern="1200" dirty="0">
                <a:solidFill>
                  <a:schemeClr val="tx1"/>
                </a:solidFill>
              </a:rPr>
              <a:t>Duration: 13 weeks</a:t>
            </a:r>
            <a:endParaRPr lang="en-US" sz="1100" kern="1200" dirty="0">
              <a:solidFill>
                <a:schemeClr val="tx1"/>
              </a:solidFill>
              <a:cs typeface="Arial"/>
            </a:endParaRPr>
          </a:p>
          <a:p>
            <a:pPr marL="114300" lvl="1" indent="-114300" algn="l" defTabSz="533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en-US" sz="1100" kern="1200" dirty="0">
                <a:solidFill>
                  <a:schemeClr val="tx1"/>
                </a:solidFill>
              </a:rPr>
              <a:t>Investment:  60 - 80 hours</a:t>
            </a:r>
            <a:endParaRPr lang="en-US" sz="1100" kern="1200" dirty="0">
              <a:solidFill>
                <a:schemeClr val="tx1"/>
              </a:solidFill>
              <a:cs typeface="Arial"/>
            </a:endParaRPr>
          </a:p>
        </p:txBody>
      </p:sp>
      <p:sp>
        <p:nvSpPr>
          <p:cNvPr id="26" name="Rectangle 25"/>
          <p:cNvSpPr/>
          <p:nvPr/>
        </p:nvSpPr>
        <p:spPr>
          <a:xfrm rot="5400000">
            <a:off x="1114940" y="1364111"/>
            <a:ext cx="272671" cy="836024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vert="vert270" rtlCol="0" anchor="b"/>
          <a:lstStyle/>
          <a:p>
            <a:pPr algn="ctr"/>
            <a:r>
              <a:rPr lang="en-US" sz="1400" dirty="0"/>
              <a:t>Jan</a:t>
            </a:r>
            <a:endParaRPr lang="en-GB" sz="1400" dirty="0"/>
          </a:p>
        </p:txBody>
      </p:sp>
      <p:sp>
        <p:nvSpPr>
          <p:cNvPr id="23" name="Rectangle 22"/>
          <p:cNvSpPr/>
          <p:nvPr/>
        </p:nvSpPr>
        <p:spPr>
          <a:xfrm rot="5400000">
            <a:off x="2263966" y="1423522"/>
            <a:ext cx="264389" cy="725485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vert="vert270" rtlCol="0" anchor="b"/>
          <a:lstStyle/>
          <a:p>
            <a:pPr algn="ctr"/>
            <a:r>
              <a:rPr lang="en-US" sz="1400" dirty="0"/>
              <a:t>Feb</a:t>
            </a:r>
            <a:endParaRPr lang="en-GB" sz="1400" dirty="0"/>
          </a:p>
        </p:txBody>
      </p:sp>
      <p:sp>
        <p:nvSpPr>
          <p:cNvPr id="24" name="Rectangle 23"/>
          <p:cNvSpPr/>
          <p:nvPr/>
        </p:nvSpPr>
        <p:spPr>
          <a:xfrm rot="5400000">
            <a:off x="3271229" y="1429258"/>
            <a:ext cx="264389" cy="725485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vert="vert270" rtlCol="0" anchor="b"/>
          <a:lstStyle/>
          <a:p>
            <a:pPr algn="ctr"/>
            <a:r>
              <a:rPr lang="en-US" sz="1400"/>
              <a:t>March</a:t>
            </a:r>
            <a:endParaRPr lang="en-GB" sz="1400"/>
          </a:p>
        </p:txBody>
      </p:sp>
      <p:sp>
        <p:nvSpPr>
          <p:cNvPr id="32" name="Rectangle 31"/>
          <p:cNvSpPr/>
          <p:nvPr/>
        </p:nvSpPr>
        <p:spPr>
          <a:xfrm rot="5400000">
            <a:off x="4423375" y="1395671"/>
            <a:ext cx="264389" cy="725485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vert="vert270" rtlCol="0" anchor="b"/>
          <a:lstStyle/>
          <a:p>
            <a:pPr algn="ctr"/>
            <a:r>
              <a:rPr lang="en-US" sz="1400" dirty="0"/>
              <a:t>April</a:t>
            </a:r>
            <a:endParaRPr lang="en-GB" sz="1400" dirty="0"/>
          </a:p>
        </p:txBody>
      </p:sp>
      <p:sp>
        <p:nvSpPr>
          <p:cNvPr id="34" name="Rectangle 33"/>
          <p:cNvSpPr/>
          <p:nvPr/>
        </p:nvSpPr>
        <p:spPr>
          <a:xfrm rot="5400000">
            <a:off x="5595297" y="1384108"/>
            <a:ext cx="264389" cy="725485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vert="vert270" rtlCol="0" anchor="b"/>
          <a:lstStyle/>
          <a:p>
            <a:pPr algn="ctr"/>
            <a:r>
              <a:rPr lang="en-US" sz="1400" dirty="0"/>
              <a:t>May</a:t>
            </a:r>
            <a:endParaRPr lang="en-GB" sz="1400" dirty="0"/>
          </a:p>
        </p:txBody>
      </p:sp>
      <p:sp>
        <p:nvSpPr>
          <p:cNvPr id="35" name="Rectangle 34"/>
          <p:cNvSpPr/>
          <p:nvPr/>
        </p:nvSpPr>
        <p:spPr>
          <a:xfrm rot="5400000">
            <a:off x="6536616" y="1388662"/>
            <a:ext cx="264389" cy="725485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vert="vert270" rtlCol="0" anchor="b"/>
          <a:lstStyle/>
          <a:p>
            <a:pPr algn="ctr"/>
            <a:r>
              <a:rPr lang="en-US" sz="1400" dirty="0"/>
              <a:t>June</a:t>
            </a:r>
            <a:endParaRPr lang="en-GB" sz="1400" dirty="0"/>
          </a:p>
        </p:txBody>
      </p:sp>
      <p:sp>
        <p:nvSpPr>
          <p:cNvPr id="38" name="Rectangle 37"/>
          <p:cNvSpPr/>
          <p:nvPr/>
        </p:nvSpPr>
        <p:spPr>
          <a:xfrm rot="5400000">
            <a:off x="7526366" y="1404095"/>
            <a:ext cx="264389" cy="725485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vert="vert270" rtlCol="0" anchor="b"/>
          <a:lstStyle/>
          <a:p>
            <a:pPr algn="ctr"/>
            <a:r>
              <a:rPr lang="en-US" sz="1400" dirty="0"/>
              <a:t>July</a:t>
            </a:r>
            <a:endParaRPr lang="en-GB" sz="1400" dirty="0"/>
          </a:p>
        </p:txBody>
      </p:sp>
      <p:sp>
        <p:nvSpPr>
          <p:cNvPr id="8" name="Rectangle 7"/>
          <p:cNvSpPr/>
          <p:nvPr/>
        </p:nvSpPr>
        <p:spPr>
          <a:xfrm>
            <a:off x="833264" y="1857021"/>
            <a:ext cx="7222202" cy="151349"/>
          </a:xfrm>
          <a:prstGeom prst="rect">
            <a:avLst/>
          </a:prstGeom>
          <a:solidFill>
            <a:schemeClr val="accent2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TextBox 16"/>
          <p:cNvSpPr txBox="1"/>
          <p:nvPr/>
        </p:nvSpPr>
        <p:spPr>
          <a:xfrm>
            <a:off x="793656" y="2123263"/>
            <a:ext cx="69780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>
                <a:solidFill>
                  <a:schemeClr val="bg1"/>
                </a:solidFill>
              </a:rPr>
              <a:t>Kick-Off &amp;</a:t>
            </a:r>
          </a:p>
          <a:p>
            <a:r>
              <a:rPr lang="en-US" sz="1100">
                <a:solidFill>
                  <a:schemeClr val="bg1"/>
                </a:solidFill>
              </a:rPr>
              <a:t>Introduction</a:t>
            </a:r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43" name="Pentagon 42"/>
          <p:cNvSpPr/>
          <p:nvPr/>
        </p:nvSpPr>
        <p:spPr>
          <a:xfrm>
            <a:off x="3284575" y="2062192"/>
            <a:ext cx="2820462" cy="866156"/>
          </a:xfrm>
          <a:prstGeom prst="homePlate">
            <a:avLst/>
          </a:prstGeom>
          <a:solidFill>
            <a:schemeClr val="accent4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86612" tIns="16002" rIns="454608" bIns="16002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b="1" kern="1200"/>
              <a:t>Pre-work</a:t>
            </a:r>
          </a:p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b="1" kern="1200"/>
              <a:t>E-Learning &amp;  </a:t>
            </a:r>
            <a:r>
              <a:rPr lang="en-US" sz="1200" b="1" kern="1200" err="1"/>
              <a:t>Foundationals</a:t>
            </a:r>
            <a:r>
              <a:rPr lang="en-US" sz="1200" b="1"/>
              <a:t> in </a:t>
            </a:r>
            <a:r>
              <a:rPr lang="en-US" sz="1200" b="1" kern="1200"/>
              <a:t>DS</a:t>
            </a:r>
          </a:p>
        </p:txBody>
      </p:sp>
      <p:sp>
        <p:nvSpPr>
          <p:cNvPr id="11" name="Pentagon 10"/>
          <p:cNvSpPr/>
          <p:nvPr/>
        </p:nvSpPr>
        <p:spPr>
          <a:xfrm>
            <a:off x="1366507" y="2060232"/>
            <a:ext cx="2355124" cy="866156"/>
          </a:xfrm>
          <a:prstGeom prst="homePlat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86612" tIns="16002" rIns="454608" bIns="16002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b="1" kern="1200"/>
              <a:t>Pre-work</a:t>
            </a:r>
          </a:p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b="1" kern="1200"/>
              <a:t>E-Learning </a:t>
            </a:r>
            <a:r>
              <a:rPr lang="en-US" sz="1200" b="1" kern="1200" err="1"/>
              <a:t>Datacamp</a:t>
            </a:r>
            <a:endParaRPr lang="en-US" sz="1200" b="1" kern="1200"/>
          </a:p>
        </p:txBody>
      </p:sp>
      <p:sp>
        <p:nvSpPr>
          <p:cNvPr id="9" name="Pentagon 8"/>
          <p:cNvSpPr/>
          <p:nvPr/>
        </p:nvSpPr>
        <p:spPr>
          <a:xfrm>
            <a:off x="812162" y="2054082"/>
            <a:ext cx="978420" cy="856546"/>
          </a:xfrm>
          <a:prstGeom prst="homePlate">
            <a:avLst>
              <a:gd name="adj" fmla="val 50828"/>
            </a:avLst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eaVert" wrap="square" lIns="486612" tIns="16002" rIns="454608" bIns="16002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00" b="1" kern="1200"/>
          </a:p>
        </p:txBody>
      </p:sp>
      <p:sp>
        <p:nvSpPr>
          <p:cNvPr id="21" name="TextBox 20"/>
          <p:cNvSpPr txBox="1"/>
          <p:nvPr/>
        </p:nvSpPr>
        <p:spPr>
          <a:xfrm>
            <a:off x="780017" y="2135976"/>
            <a:ext cx="920445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>
                <a:solidFill>
                  <a:schemeClr val="bg1"/>
                </a:solidFill>
              </a:rPr>
              <a:t>Kick-Off</a:t>
            </a:r>
          </a:p>
          <a:p>
            <a:r>
              <a:rPr lang="en-US" sz="1100">
                <a:solidFill>
                  <a:schemeClr val="bg1"/>
                </a:solidFill>
              </a:rPr>
              <a:t>&amp;</a:t>
            </a:r>
          </a:p>
          <a:p>
            <a:r>
              <a:rPr lang="en-US" sz="1100">
                <a:solidFill>
                  <a:schemeClr val="bg1"/>
                </a:solidFill>
              </a:rPr>
              <a:t>Introduction</a:t>
            </a:r>
            <a:endParaRPr lang="en-GB" sz="11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1442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hTxQjMTbObKSq6hFota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I8ikCbRM6swtQIOQoYd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I8ikCbRM6swtQIOQoY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I8ikCbRM6swtQIOQoYd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I8ikCbRM6swtQIOQoY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IZE" val="2"/>
  <p:tag name="NAME" val="DirArro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plitFlow"/>
</p:tagLst>
</file>

<file path=ppt/theme/theme1.xml><?xml version="1.0" encoding="utf-8"?>
<a:theme xmlns:a="http://schemas.openxmlformats.org/drawingml/2006/main" name="2_DU5999_CF">
  <a:themeElements>
    <a:clrScheme name="Custom">
      <a:dk1>
        <a:srgbClr val="000000"/>
      </a:dk1>
      <a:lt1>
        <a:srgbClr val="FFFFFF"/>
      </a:lt1>
      <a:dk2>
        <a:srgbClr val="000000"/>
      </a:dk2>
      <a:lt2>
        <a:srgbClr val="5FBC23"/>
      </a:lt2>
      <a:accent1>
        <a:srgbClr val="ABE5FF"/>
      </a:accent1>
      <a:accent2>
        <a:srgbClr val="00ADFB"/>
      </a:accent2>
      <a:accent3>
        <a:srgbClr val="0082BC"/>
      </a:accent3>
      <a:accent4>
        <a:srgbClr val="1D428A"/>
      </a:accent4>
      <a:accent5>
        <a:srgbClr val="0E2961"/>
      </a:accent5>
      <a:accent6>
        <a:srgbClr val="808080"/>
      </a:accent6>
      <a:hlink>
        <a:srgbClr val="0082BC"/>
      </a:hlink>
      <a:folHlink>
        <a:srgbClr val="1D428A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 w="9525">
          <a:noFill/>
        </a:ln>
      </a:spPr>
      <a:bodyPr rtlCol="0" anchor="ctr"/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0000"/>
        </a:dk2>
        <a:lt2>
          <a:srgbClr val="5FBC23"/>
        </a:lt2>
        <a:accent1>
          <a:srgbClr val="ABE5FF"/>
        </a:accent1>
        <a:accent2>
          <a:srgbClr val="00ADFB"/>
        </a:accent2>
        <a:accent3>
          <a:srgbClr val="0082BC"/>
        </a:accent3>
        <a:accent4>
          <a:srgbClr val="1D428A"/>
        </a:accent4>
        <a:accent5>
          <a:srgbClr val="0E2961"/>
        </a:accent5>
        <a:accent6>
          <a:srgbClr val="808080"/>
        </a:accent6>
        <a:hlink>
          <a:srgbClr val="0082BC"/>
        </a:hlink>
        <a:folHlink>
          <a:srgbClr val="1D428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U5999_CF1.potx" id="{1B6B4819-F6D3-4240-A0AB-ADFA5D0CC662}" vid="{44C94B06-8502-4D3C-A27C-524710325E92}"/>
    </a:ext>
  </a:extLst>
</a:theme>
</file>

<file path=ppt/theme/theme2.xml><?xml version="1.0" encoding="utf-8"?>
<a:theme xmlns:a="http://schemas.openxmlformats.org/drawingml/2006/main" name="1_Novelis Blue Theme">
  <a:themeElements>
    <a:clrScheme name="Novelis Theme">
      <a:dk1>
        <a:srgbClr val="000000"/>
      </a:dk1>
      <a:lt1>
        <a:srgbClr val="FFFFFF"/>
      </a:lt1>
      <a:dk2>
        <a:srgbClr val="17406D"/>
      </a:dk2>
      <a:lt2>
        <a:srgbClr val="DBEFF9"/>
      </a:lt2>
      <a:accent1>
        <a:srgbClr val="0E2961"/>
      </a:accent1>
      <a:accent2>
        <a:srgbClr val="1D428A"/>
      </a:accent2>
      <a:accent3>
        <a:srgbClr val="00ADFB"/>
      </a:accent3>
      <a:accent4>
        <a:srgbClr val="00532A"/>
      </a:accent4>
      <a:accent5>
        <a:srgbClr val="5FBC23"/>
      </a:accent5>
      <a:accent6>
        <a:srgbClr val="A1DD00"/>
      </a:accent6>
      <a:hlink>
        <a:srgbClr val="DF7E26"/>
      </a:hlink>
      <a:folHlink>
        <a:srgbClr val="85DFD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2" id="{AAE6C3F0-563A-9F4C-B13D-4892A6E6454B}" vid="{920C0838-C9A6-B749-A7A2-0B2C92D373CC}"/>
    </a:ext>
  </a:extLst>
</a:theme>
</file>

<file path=ppt/theme/theme3.xml><?xml version="1.0" encoding="utf-8"?>
<a:theme xmlns:a="http://schemas.openxmlformats.org/drawingml/2006/main" name="1_Novelis White Theme">
  <a:themeElements>
    <a:clrScheme name="Novelis Theme">
      <a:dk1>
        <a:srgbClr val="000000"/>
      </a:dk1>
      <a:lt1>
        <a:srgbClr val="FFFFFF"/>
      </a:lt1>
      <a:dk2>
        <a:srgbClr val="17406D"/>
      </a:dk2>
      <a:lt2>
        <a:srgbClr val="DBEFF9"/>
      </a:lt2>
      <a:accent1>
        <a:srgbClr val="0E2961"/>
      </a:accent1>
      <a:accent2>
        <a:srgbClr val="1D428A"/>
      </a:accent2>
      <a:accent3>
        <a:srgbClr val="00ADFB"/>
      </a:accent3>
      <a:accent4>
        <a:srgbClr val="00532A"/>
      </a:accent4>
      <a:accent5>
        <a:srgbClr val="5FBC23"/>
      </a:accent5>
      <a:accent6>
        <a:srgbClr val="A1DD00"/>
      </a:accent6>
      <a:hlink>
        <a:srgbClr val="DF7E26"/>
      </a:hlink>
      <a:folHlink>
        <a:srgbClr val="85DFD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velis 16x9 Template" id="{9B75548A-69DB-F043-9272-8D41514DECFD}" vid="{DE72A717-A75A-B04E-B076-37311B8A21D8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4678C4A89BABC4C8284D60851918205" ma:contentTypeVersion="19" ma:contentTypeDescription="Create a new document." ma:contentTypeScope="" ma:versionID="3d1c5349c0c9eb723894a5b6891733d1">
  <xsd:schema xmlns:xsd="http://www.w3.org/2001/XMLSchema" xmlns:xs="http://www.w3.org/2001/XMLSchema" xmlns:p="http://schemas.microsoft.com/office/2006/metadata/properties" xmlns:ns2="7649d36d-b18d-4f08-9d96-dda1d5d9ff08" xmlns:ns3="5bbdc9d5-5a7e-4463-a7aa-cbeab8129422" targetNamespace="http://schemas.microsoft.com/office/2006/metadata/properties" ma:root="true" ma:fieldsID="d2056d7b845301f2984afe74f0941a10" ns2:_="" ns3:_="">
    <xsd:import namespace="7649d36d-b18d-4f08-9d96-dda1d5d9ff08"/>
    <xsd:import namespace="5bbdc9d5-5a7e-4463-a7aa-cbeab812942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2:MediaServiceAutoTags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2:MediaServiceOCR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49d36d-b18d-4f08-9d96-dda1d5d9ff0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Length (seconds)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caa2f0b1-8cc8-4c79-84c3-d4b76b88a03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bbdc9d5-5a7e-4463-a7aa-cbeab8129422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7" nillable="true" ma:displayName="Taxonomy Catch All Column" ma:hidden="true" ma:list="{34338f89-6dfe-47fd-9b5f-2b868ae8e432}" ma:internalName="TaxCatchAll" ma:showField="CatchAllData" ma:web="5bbdc9d5-5a7e-4463-a7aa-cbeab812942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649d36d-b18d-4f08-9d96-dda1d5d9ff08">
      <Terms xmlns="http://schemas.microsoft.com/office/infopath/2007/PartnerControls"/>
    </lcf76f155ced4ddcb4097134ff3c332f>
    <TaxCatchAll xmlns="5bbdc9d5-5a7e-4463-a7aa-cbeab8129422" xsi:nil="true"/>
    <SharedWithUsers xmlns="5bbdc9d5-5a7e-4463-a7aa-cbeab8129422">
      <UserInfo>
        <DisplayName>Russell Krenek</DisplayName>
        <AccountId>290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7CA5C29C-8A5A-4970-9F2B-D89E76311A91}">
  <ds:schemaRefs>
    <ds:schemaRef ds:uri="5bbdc9d5-5a7e-4463-a7aa-cbeab8129422"/>
    <ds:schemaRef ds:uri="7649d36d-b18d-4f08-9d96-dda1d5d9ff0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9159F86E-AB19-4BFB-A2E9-E2BF0AE33D9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9BA6BE4-770E-4B27-B825-499B19D3610A}">
  <ds:schemaRefs>
    <ds:schemaRef ds:uri="http://purl.org/dc/terms/"/>
    <ds:schemaRef ds:uri="http://schemas.microsoft.com/office/infopath/2007/PartnerControls"/>
    <ds:schemaRef ds:uri="http://purl.org/dc/dcmitype/"/>
    <ds:schemaRef ds:uri="5bbdc9d5-5a7e-4463-a7aa-cbeab8129422"/>
    <ds:schemaRef ds:uri="http://purl.org/dc/elements/1.1/"/>
    <ds:schemaRef ds:uri="http://schemas.microsoft.com/office/2006/documentManagement/types"/>
    <ds:schemaRef ds:uri="http://www.w3.org/XML/1998/namespace"/>
    <ds:schemaRef ds:uri="http://schemas.openxmlformats.org/package/2006/metadata/core-properties"/>
    <ds:schemaRef ds:uri="7649d36d-b18d-4f08-9d96-dda1d5d9ff08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64</Words>
  <Application>Microsoft Office PowerPoint</Application>
  <PresentationFormat>On-screen Show (16:9)</PresentationFormat>
  <Paragraphs>184</Paragraphs>
  <Slides>1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6" baseType="lpstr">
      <vt:lpstr>Arial</vt:lpstr>
      <vt:lpstr>Calibri</vt:lpstr>
      <vt:lpstr>Google Sans</vt:lpstr>
      <vt:lpstr>Wingdings</vt:lpstr>
      <vt:lpstr>2_DU5999_CF</vt:lpstr>
      <vt:lpstr>1_Novelis Blue Theme</vt:lpstr>
      <vt:lpstr>1_Novelis White Theme</vt:lpstr>
      <vt:lpstr>think-cell Slide</vt:lpstr>
      <vt:lpstr>Introduction to advanced analytics</vt:lpstr>
      <vt:lpstr>Course Facilitators</vt:lpstr>
      <vt:lpstr>agenda</vt:lpstr>
      <vt:lpstr>Ground rules</vt:lpstr>
      <vt:lpstr>Safety minute</vt:lpstr>
      <vt:lpstr>Websites and digital tools being used</vt:lpstr>
      <vt:lpstr>course overview</vt:lpstr>
      <vt:lpstr>DATA SCIENCE PROGRAM objective</vt:lpstr>
      <vt:lpstr>Data science Program timeline (updated)</vt:lpstr>
      <vt:lpstr>Prerequisite coursework</vt:lpstr>
      <vt:lpstr>Virtual classroom training</vt:lpstr>
      <vt:lpstr>Introduction to advanced analytics</vt:lpstr>
      <vt:lpstr>Project selection &amp; completion</vt:lpstr>
      <vt:lpstr>Project assignment</vt:lpstr>
      <vt:lpstr>Project charter form</vt:lpstr>
      <vt:lpstr>Q &amp; A</vt:lpstr>
      <vt:lpstr>Appendix</vt:lpstr>
      <vt:lpstr>Tools matrix</vt:lpstr>
    </vt:vector>
  </TitlesOfParts>
  <Company>Ergun Kayi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rije Shefiti</dc:creator>
  <cp:lastModifiedBy>Mitchell Logan</cp:lastModifiedBy>
  <cp:revision>1</cp:revision>
  <cp:lastPrinted>2019-06-26T18:29:46Z</cp:lastPrinted>
  <dcterms:created xsi:type="dcterms:W3CDTF">2014-07-08T04:55:45Z</dcterms:created>
  <dcterms:modified xsi:type="dcterms:W3CDTF">2024-01-23T02:32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4678C4A89BABC4C8284D60851918205</vt:lpwstr>
  </property>
  <property fmtid="{D5CDD505-2E9C-101B-9397-08002B2CF9AE}" pid="3" name="MSIP_Label_f64f9abf-41d9-4073-8cec-9d70b37e948d_Enabled">
    <vt:lpwstr>true</vt:lpwstr>
  </property>
  <property fmtid="{D5CDD505-2E9C-101B-9397-08002B2CF9AE}" pid="4" name="MSIP_Label_f64f9abf-41d9-4073-8cec-9d70b37e948d_SetDate">
    <vt:lpwstr>2021-10-21T10:35:32Z</vt:lpwstr>
  </property>
  <property fmtid="{D5CDD505-2E9C-101B-9397-08002B2CF9AE}" pid="5" name="MSIP_Label_f64f9abf-41d9-4073-8cec-9d70b37e948d_Method">
    <vt:lpwstr>Standard</vt:lpwstr>
  </property>
  <property fmtid="{D5CDD505-2E9C-101B-9397-08002B2CF9AE}" pid="6" name="MSIP_Label_f64f9abf-41d9-4073-8cec-9d70b37e948d_Name">
    <vt:lpwstr>f64f9abf-41d9-4073-8cec-9d70b37e948d</vt:lpwstr>
  </property>
  <property fmtid="{D5CDD505-2E9C-101B-9397-08002B2CF9AE}" pid="7" name="MSIP_Label_f64f9abf-41d9-4073-8cec-9d70b37e948d_SiteId">
    <vt:lpwstr>d22c77f4-2e36-47f9-91bd-85176efc7a36</vt:lpwstr>
  </property>
  <property fmtid="{D5CDD505-2E9C-101B-9397-08002B2CF9AE}" pid="8" name="MSIP_Label_f64f9abf-41d9-4073-8cec-9d70b37e948d_ActionId">
    <vt:lpwstr>eba1acba-37ce-4827-b575-9ac55c29b1e8</vt:lpwstr>
  </property>
  <property fmtid="{D5CDD505-2E9C-101B-9397-08002B2CF9AE}" pid="9" name="MSIP_Label_f64f9abf-41d9-4073-8cec-9d70b37e948d_ContentBits">
    <vt:lpwstr>0</vt:lpwstr>
  </property>
  <property fmtid="{D5CDD505-2E9C-101B-9397-08002B2CF9AE}" pid="10" name="MediaServiceImageTags">
    <vt:lpwstr/>
  </property>
</Properties>
</file>